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autoCompressPictures="0">
  <p:sldMasterIdLst>
    <p:sldMasterId id="2147483648" r:id="rId4"/>
  </p:sldMasterIdLst>
  <p:notesMasterIdLst>
    <p:notesMasterId r:id="rId24"/>
  </p:notesMasterIdLst>
  <p:sldIdLst>
    <p:sldId id="256" r:id="rId5"/>
    <p:sldId id="278" r:id="rId6"/>
    <p:sldId id="275" r:id="rId7"/>
    <p:sldId id="263" r:id="rId8"/>
    <p:sldId id="276" r:id="rId9"/>
    <p:sldId id="261" r:id="rId10"/>
    <p:sldId id="279" r:id="rId11"/>
    <p:sldId id="262" r:id="rId12"/>
    <p:sldId id="280" r:id="rId13"/>
    <p:sldId id="268" r:id="rId14"/>
    <p:sldId id="269" r:id="rId15"/>
    <p:sldId id="270" r:id="rId16"/>
    <p:sldId id="281" r:id="rId17"/>
    <p:sldId id="272" r:id="rId18"/>
    <p:sldId id="277" r:id="rId19"/>
    <p:sldId id="264" r:id="rId20"/>
    <p:sldId id="273" r:id="rId21"/>
    <p:sldId id="274" r:id="rId22"/>
    <p:sldId id="271" r:id="rId23"/>
  </p:sldIdLst>
  <p:sldSz cx="12192000" cy="6858000"/>
  <p:notesSz cx="6858000" cy="9144000"/>
  <p:custDataLst>
    <p:tags r:id="rId25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1BB2A"/>
    <a:srgbClr val="325095"/>
    <a:srgbClr val="007F6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CAFF56A8-1079-7C4F-B506-DAF0F6E994FA}" v="18" dt="2019-09-26T07:49:55.370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2650" autoAdjust="0"/>
    <p:restoredTop sz="94694"/>
  </p:normalViewPr>
  <p:slideViewPr>
    <p:cSldViewPr snapToGrid="0" snapToObjects="1">
      <p:cViewPr varScale="1">
        <p:scale>
          <a:sx n="109" d="100"/>
          <a:sy n="109" d="100"/>
        </p:scale>
        <p:origin x="804" y="-28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viewProps" Target="viewProps.xml"/><Relationship Id="rId30" Type="http://schemas.microsoft.com/office/2015/10/relationships/revisionInfo" Target="revisionInfo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objekt pre hlavičku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sk-SK"/>
          </a:p>
        </p:txBody>
      </p:sp>
      <p:sp>
        <p:nvSpPr>
          <p:cNvPr id="3" name="Zástupný objekt pre dá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514F453-71CC-4E5F-B141-5FA76B8C309D}" type="datetimeFigureOut">
              <a:rPr lang="sk-SK" smtClean="0"/>
              <a:t>9. 4. 2025</a:t>
            </a:fld>
            <a:endParaRPr lang="sk-SK"/>
          </a:p>
        </p:txBody>
      </p:sp>
      <p:sp>
        <p:nvSpPr>
          <p:cNvPr id="4" name="Zástupný objekt pre obrázok snímky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sk-SK"/>
          </a:p>
        </p:txBody>
      </p:sp>
      <p:sp>
        <p:nvSpPr>
          <p:cNvPr id="5" name="Zástupný objekt pre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sk-SK" smtClean="0"/>
              <a:t>Upraviť štýly predlohy textu</a:t>
            </a:r>
          </a:p>
          <a:p>
            <a:pPr lvl="1"/>
            <a:r>
              <a:rPr lang="sk-SK" smtClean="0"/>
              <a:t>Druhá úroveň</a:t>
            </a:r>
          </a:p>
          <a:p>
            <a:pPr lvl="2"/>
            <a:r>
              <a:rPr lang="sk-SK" smtClean="0"/>
              <a:t>Tretia úroveň</a:t>
            </a:r>
          </a:p>
          <a:p>
            <a:pPr lvl="3"/>
            <a:r>
              <a:rPr lang="sk-SK" smtClean="0"/>
              <a:t>Štvrtá úroveň</a:t>
            </a:r>
          </a:p>
          <a:p>
            <a:pPr lvl="4"/>
            <a:r>
              <a:rPr lang="sk-SK" smtClean="0"/>
              <a:t>Piata úroveň</a:t>
            </a:r>
            <a:endParaRPr lang="sk-SK"/>
          </a:p>
        </p:txBody>
      </p:sp>
      <p:sp>
        <p:nvSpPr>
          <p:cNvPr id="6" name="Zástupný objekt pre pätu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sk-SK"/>
          </a:p>
        </p:txBody>
      </p:sp>
      <p:sp>
        <p:nvSpPr>
          <p:cNvPr id="7" name="Zástupný objekt pre číslo snímky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3249A6C-C72A-485F-A4A5-129A48136F1C}" type="slidenum">
              <a:rPr lang="sk-SK" smtClean="0"/>
              <a:t>‹#›</a:t>
            </a:fld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337089792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53275AEC-44C6-D94D-BB61-6CF703E79C8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-13944"/>
            <a:ext cx="121793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54955" y="2099733"/>
            <a:ext cx="8825658" cy="2677648"/>
          </a:xfrm>
        </p:spPr>
        <p:txBody>
          <a:bodyPr anchor="b"/>
          <a:lstStyle>
            <a:lvl1pPr>
              <a:defRPr sz="54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1154955" y="4777380"/>
            <a:ext cx="8825658" cy="861420"/>
          </a:xfrm>
        </p:spPr>
        <p:txBody>
          <a:bodyPr anchor="t"/>
          <a:lstStyle>
            <a:lvl1pPr marL="0" indent="0" algn="l">
              <a:buNone/>
              <a:defRPr b="1" cap="all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>
          <a:xfrm rot="5400000">
            <a:off x="10158984" y="1792224"/>
            <a:ext cx="990599" cy="304799"/>
          </a:xfrm>
        </p:spPr>
        <p:txBody>
          <a:bodyPr anchor="t"/>
          <a:lstStyle>
            <a:lvl1pPr algn="l">
              <a:defRPr b="0" i="0">
                <a:solidFill>
                  <a:schemeClr val="bg1">
                    <a:alpha val="60000"/>
                  </a:schemeClr>
                </a:solidFill>
              </a:defRPr>
            </a:lvl1pPr>
          </a:lstStyle>
          <a:p>
            <a:fld id="{E75555E6-2657-4495-B1D8-7060BA844B0A}" type="datetime1">
              <a:rPr lang="en-US" smtClean="0"/>
              <a:t>4/9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>
          <a:xfrm rot="5400000">
            <a:off x="8951976" y="3227832"/>
            <a:ext cx="3859795" cy="304801"/>
          </a:xfrm>
        </p:spPr>
        <p:txBody>
          <a:bodyPr/>
          <a:lstStyle>
            <a:lvl1pPr>
              <a:defRPr b="0" i="0">
                <a:solidFill>
                  <a:schemeClr val="bg1">
                    <a:alpha val="60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B1AC67A8-0325-1F47-AD94-F2603899AC61}"/>
              </a:ext>
            </a:extLst>
          </p:cNvPr>
          <p:cNvSpPr/>
          <p:nvPr userDrawn="1"/>
        </p:nvSpPr>
        <p:spPr>
          <a:xfrm>
            <a:off x="10437812" y="0"/>
            <a:ext cx="685800" cy="1143000"/>
          </a:xfrm>
          <a:prstGeom prst="rect">
            <a:avLst/>
          </a:prstGeom>
          <a:solidFill>
            <a:srgbClr val="F1BB2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C736C90C-1603-334F-AB0A-D1DAD0C1DC7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10352540" y="295729"/>
            <a:ext cx="838199" cy="7676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ctr">
              <a:defRPr sz="2800" b="0" i="0">
                <a:solidFill>
                  <a:schemeClr val="bg1"/>
                </a:solidFill>
              </a:defRPr>
            </a:lvl1pPr>
          </a:lstStyle>
          <a:p>
            <a:fld id="{D57F1E4F-1CFF-5643-939E-217C01CDF565}" type="slidenum">
              <a:rPr lang="en-US" dirty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8D613052-5221-7048-B243-C569E47A551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350" y="0"/>
            <a:ext cx="121793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5" y="1295400"/>
            <a:ext cx="2793158" cy="1600200"/>
          </a:xfrm>
        </p:spPr>
        <p:txBody>
          <a:bodyPr anchor="b"/>
          <a:lstStyle>
            <a:lvl1pPr algn="l">
              <a:defRPr sz="2400" b="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781146" y="1447800"/>
            <a:ext cx="5190066" cy="4572000"/>
          </a:xfrm>
        </p:spPr>
        <p:txBody>
          <a:bodyPr anchor="ctr">
            <a:normAutofit/>
          </a:bodyPr>
          <a:lstStyle>
            <a:lvl1pPr>
              <a:buClr>
                <a:srgbClr val="007F6E"/>
              </a:buClr>
              <a:defRPr/>
            </a:lvl1pPr>
            <a:lvl2pPr>
              <a:buClr>
                <a:srgbClr val="007F6E"/>
              </a:buClr>
              <a:defRPr/>
            </a:lvl2pPr>
            <a:lvl3pPr>
              <a:buClr>
                <a:srgbClr val="007F6E"/>
              </a:buClr>
              <a:defRPr/>
            </a:lvl3pPr>
            <a:lvl4pPr>
              <a:buClr>
                <a:srgbClr val="007F6E"/>
              </a:buClr>
              <a:defRPr/>
            </a:lvl4pPr>
            <a:lvl5pPr>
              <a:buClr>
                <a:srgbClr val="007F6E"/>
              </a:buClr>
              <a:defRPr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gray">
          <a:xfrm>
            <a:off x="1154954" y="3129280"/>
            <a:ext cx="2793158" cy="2895599"/>
          </a:xfrm>
        </p:spPr>
        <p:txBody>
          <a:bodyPr/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FA3208-9B08-48E1-A6AD-189384460BD8}" type="datetime1">
              <a:rPr lang="en-US" smtClean="0"/>
              <a:t>4/9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C6000C0-2E45-CD4F-8947-B5D51AEFDFE4}"/>
              </a:ext>
            </a:extLst>
          </p:cNvPr>
          <p:cNvSpPr/>
          <p:nvPr userDrawn="1"/>
        </p:nvSpPr>
        <p:spPr>
          <a:xfrm>
            <a:off x="10437812" y="0"/>
            <a:ext cx="685800" cy="1143000"/>
          </a:xfrm>
          <a:prstGeom prst="rect">
            <a:avLst/>
          </a:prstGeom>
          <a:solidFill>
            <a:srgbClr val="F1BB2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AC9FCC61-F6DB-0E43-8B9C-4BFFFCD9806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10352540" y="295729"/>
            <a:ext cx="838199" cy="7676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ctr">
              <a:defRPr sz="2800" b="0" i="0">
                <a:solidFill>
                  <a:schemeClr val="bg1"/>
                </a:solidFill>
              </a:defRPr>
            </a:lvl1pPr>
          </a:lstStyle>
          <a:p>
            <a:fld id="{D57F1E4F-1CFF-5643-939E-217C01CDF565}" type="slidenum">
              <a:rPr lang="en-US" dirty="0"/>
              <a:pPr/>
              <a:t>‹#›</a:t>
            </a:fld>
            <a:endParaRPr lang="en-US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09BC9FC5-765D-F44E-AD45-BF57212F4B9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10438991" y="6226146"/>
            <a:ext cx="1369242" cy="444559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1_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8D613052-5221-7048-B243-C569E47A551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6350" y="0"/>
            <a:ext cx="121793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5" y="1295400"/>
            <a:ext cx="2793158" cy="1600200"/>
          </a:xfrm>
        </p:spPr>
        <p:txBody>
          <a:bodyPr anchor="b"/>
          <a:lstStyle>
            <a:lvl1pPr algn="l">
              <a:defRPr sz="2400" b="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781146" y="1447800"/>
            <a:ext cx="5190066" cy="4572000"/>
          </a:xfrm>
        </p:spPr>
        <p:txBody>
          <a:bodyPr anchor="ctr">
            <a:normAutofit/>
          </a:bodyPr>
          <a:lstStyle>
            <a:lvl1pPr>
              <a:buClr>
                <a:srgbClr val="325095"/>
              </a:buClr>
              <a:defRPr/>
            </a:lvl1pPr>
            <a:lvl2pPr>
              <a:buClr>
                <a:srgbClr val="325095"/>
              </a:buClr>
              <a:defRPr/>
            </a:lvl2pPr>
            <a:lvl3pPr>
              <a:buClr>
                <a:srgbClr val="325095"/>
              </a:buClr>
              <a:defRPr/>
            </a:lvl3pPr>
            <a:lvl4pPr>
              <a:buClr>
                <a:srgbClr val="325095"/>
              </a:buClr>
              <a:defRPr/>
            </a:lvl4pPr>
            <a:lvl5pPr>
              <a:buClr>
                <a:srgbClr val="325095"/>
              </a:buClr>
              <a:defRPr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gray">
          <a:xfrm>
            <a:off x="1154954" y="3129280"/>
            <a:ext cx="2793158" cy="2895599"/>
          </a:xfrm>
        </p:spPr>
        <p:txBody>
          <a:bodyPr/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56915C-A32F-4718-9BAE-DB58FFA50002}" type="datetime1">
              <a:rPr lang="en-US" smtClean="0"/>
              <a:t>4/9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715609EF-559B-6841-843F-A1ADD01E25D7}"/>
              </a:ext>
            </a:extLst>
          </p:cNvPr>
          <p:cNvSpPr/>
          <p:nvPr userDrawn="1"/>
        </p:nvSpPr>
        <p:spPr>
          <a:xfrm>
            <a:off x="10437812" y="0"/>
            <a:ext cx="685800" cy="1143000"/>
          </a:xfrm>
          <a:prstGeom prst="rect">
            <a:avLst/>
          </a:prstGeom>
          <a:solidFill>
            <a:srgbClr val="F1BB2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8159FB2D-23BE-034E-B62D-296B5699F8D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10352540" y="295729"/>
            <a:ext cx="838199" cy="7676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ctr">
              <a:defRPr sz="2800" b="0" i="0">
                <a:solidFill>
                  <a:schemeClr val="bg1"/>
                </a:solidFill>
              </a:defRPr>
            </a:lvl1pPr>
          </a:lstStyle>
          <a:p>
            <a:fld id="{D57F1E4F-1CFF-5643-939E-217C01CDF565}" type="slidenum">
              <a:rPr lang="en-US" dirty="0"/>
              <a:pPr/>
              <a:t>‹#›</a:t>
            </a:fld>
            <a:endParaRPr lang="en-US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CE9E8BA6-DB1E-054B-AF39-E0664ACC0D4F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10438991" y="6226146"/>
            <a:ext cx="1369242" cy="4445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861421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 descr="A close up of a logo&#10;&#10;Description automatically generated">
            <a:extLst>
              <a:ext uri="{FF2B5EF4-FFF2-40B4-BE49-F238E27FC236}">
                <a16:creationId xmlns:a16="http://schemas.microsoft.com/office/drawing/2014/main" id="{8B1B6482-1025-254C-9359-5BA89FEE556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350" y="0"/>
            <a:ext cx="121793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5" y="1693333"/>
            <a:ext cx="3865134" cy="1735667"/>
          </a:xfrm>
        </p:spPr>
        <p:txBody>
          <a:bodyPr anchor="b">
            <a:normAutofit/>
          </a:bodyPr>
          <a:lstStyle>
            <a:lvl1pPr algn="l">
              <a:defRPr sz="3600" b="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6547870" y="1143000"/>
            <a:ext cx="3227193" cy="4572000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pPr marL="0" lvl="0" indent="0" algn="ctr">
              <a:buNone/>
            </a:pPr>
            <a:r>
              <a:rPr lang="en-GB"/>
              <a:t>Click icon to add picture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gray">
          <a:xfrm>
            <a:off x="1154954" y="3657600"/>
            <a:ext cx="3859212" cy="1371600"/>
          </a:xfrm>
        </p:spPr>
        <p:txBody>
          <a:bodyPr>
            <a:normAutofit/>
          </a:bodyPr>
          <a:lstStyle>
            <a:lvl1pPr marL="0" indent="0">
              <a:buNone/>
              <a:defRPr sz="1400" b="1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76E887-C7E0-4295-88B9-7A1D873ECD89}" type="datetime1">
              <a:rPr lang="en-US" smtClean="0"/>
              <a:t>4/9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51CAFDBA-F4AB-4F4F-993A-C04792D1154E}"/>
              </a:ext>
            </a:extLst>
          </p:cNvPr>
          <p:cNvSpPr/>
          <p:nvPr userDrawn="1"/>
        </p:nvSpPr>
        <p:spPr>
          <a:xfrm>
            <a:off x="10437812" y="0"/>
            <a:ext cx="685800" cy="1143000"/>
          </a:xfrm>
          <a:prstGeom prst="rect">
            <a:avLst/>
          </a:prstGeom>
          <a:solidFill>
            <a:srgbClr val="F1BB2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F27F38AF-F311-1446-966C-0B27C01D46C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10352540" y="295729"/>
            <a:ext cx="838199" cy="7676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ctr">
              <a:defRPr sz="2800" b="0" i="0">
                <a:solidFill>
                  <a:schemeClr val="bg1"/>
                </a:solidFill>
              </a:defRPr>
            </a:lvl1pPr>
          </a:lstStyle>
          <a:p>
            <a:fld id="{D57F1E4F-1CFF-5643-939E-217C01CDF565}" type="slidenum">
              <a:rPr lang="en-US" dirty="0"/>
              <a:pPr/>
              <a:t>‹#›</a:t>
            </a:fld>
            <a:endParaRPr lang="en-US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4A85B17E-8EA9-3444-92E1-CCB5F34C2F7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10438991" y="6226146"/>
            <a:ext cx="1369242" cy="444559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1_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>
            <a:extLst>
              <a:ext uri="{FF2B5EF4-FFF2-40B4-BE49-F238E27FC236}">
                <a16:creationId xmlns:a16="http://schemas.microsoft.com/office/drawing/2014/main" id="{8B1B6482-1025-254C-9359-5BA89FEE556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6350" y="0"/>
            <a:ext cx="121793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5" y="1693333"/>
            <a:ext cx="3865134" cy="1735667"/>
          </a:xfrm>
        </p:spPr>
        <p:txBody>
          <a:bodyPr anchor="b">
            <a:normAutofit/>
          </a:bodyPr>
          <a:lstStyle>
            <a:lvl1pPr algn="l">
              <a:defRPr sz="3600" b="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6547870" y="1143000"/>
            <a:ext cx="3227193" cy="4572000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pPr marL="0" lvl="0" indent="0" algn="ctr">
              <a:buNone/>
            </a:pPr>
            <a:r>
              <a:rPr lang="en-GB"/>
              <a:t>Click icon to add picture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gray">
          <a:xfrm>
            <a:off x="1154954" y="3657600"/>
            <a:ext cx="3859212" cy="1371600"/>
          </a:xfrm>
        </p:spPr>
        <p:txBody>
          <a:bodyPr>
            <a:normAutofit/>
          </a:bodyPr>
          <a:lstStyle>
            <a:lvl1pPr marL="0" indent="0">
              <a:buNone/>
              <a:defRPr sz="1400" b="1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913175F-EB53-4B1E-9BF4-1B69E555859B}" type="datetime1">
              <a:rPr lang="en-US" smtClean="0"/>
              <a:t>4/9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60DFF72-6F08-FD4F-9D99-FF45F6F8CA04}"/>
              </a:ext>
            </a:extLst>
          </p:cNvPr>
          <p:cNvSpPr/>
          <p:nvPr userDrawn="1"/>
        </p:nvSpPr>
        <p:spPr>
          <a:xfrm>
            <a:off x="10437812" y="0"/>
            <a:ext cx="685800" cy="1143000"/>
          </a:xfrm>
          <a:prstGeom prst="rect">
            <a:avLst/>
          </a:prstGeom>
          <a:solidFill>
            <a:srgbClr val="F1BB2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7BE8BDF8-98B8-CA47-B6ED-EF6E4038ACE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10352540" y="295729"/>
            <a:ext cx="838199" cy="7676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ctr">
              <a:defRPr sz="2800" b="0" i="0">
                <a:solidFill>
                  <a:schemeClr val="bg1"/>
                </a:solidFill>
              </a:defRPr>
            </a:lvl1pPr>
          </a:lstStyle>
          <a:p>
            <a:fld id="{D57F1E4F-1CFF-5643-939E-217C01CDF565}" type="slidenum">
              <a:rPr lang="en-US" dirty="0"/>
              <a:pPr/>
              <a:t>‹#›</a:t>
            </a:fld>
            <a:endParaRPr lang="en-US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96E4DC1B-E303-514A-BC7F-97148392F5F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10438991" y="6226146"/>
            <a:ext cx="1369242" cy="4445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308518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anoramic 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A close up of a logo&#10;&#10;Description automatically generated">
            <a:extLst>
              <a:ext uri="{FF2B5EF4-FFF2-40B4-BE49-F238E27FC236}">
                <a16:creationId xmlns:a16="http://schemas.microsoft.com/office/drawing/2014/main" id="{16126C38-0923-FA4A-B953-B7CE5272E3D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350" y="0"/>
            <a:ext cx="12179300" cy="6858000"/>
          </a:xfrm>
          <a:prstGeom prst="rect">
            <a:avLst/>
          </a:prstGeom>
        </p:spPr>
      </p:pic>
      <p:grpSp>
        <p:nvGrpSpPr>
          <p:cNvPr id="9" name="Group 8"/>
          <p:cNvGrpSpPr/>
          <p:nvPr userDrawn="1"/>
        </p:nvGrpSpPr>
        <p:grpSpPr>
          <a:xfrm>
            <a:off x="6350" y="0"/>
            <a:ext cx="12192000" cy="6856413"/>
            <a:chOff x="0" y="1587"/>
            <a:chExt cx="12192000" cy="6856413"/>
          </a:xfrm>
        </p:grpSpPr>
        <p:sp>
          <p:nvSpPr>
            <p:cNvPr id="18" name="Oval 17"/>
            <p:cNvSpPr/>
            <p:nvPr/>
          </p:nvSpPr>
          <p:spPr>
            <a:xfrm>
              <a:off x="0" y="2895600"/>
              <a:ext cx="2362200" cy="2362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8000"/>
                  </a:schemeClr>
                </a:gs>
                <a:gs pos="72000">
                  <a:schemeClr val="accent5">
                    <a:alpha val="0"/>
                  </a:schemeClr>
                </a:gs>
                <a:gs pos="36000">
                  <a:schemeClr val="accent5">
                    <a:alpha val="8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9" name="Oval 18"/>
            <p:cNvSpPr/>
            <p:nvPr/>
          </p:nvSpPr>
          <p:spPr>
            <a:xfrm>
              <a:off x="8609012" y="5867400"/>
              <a:ext cx="990600" cy="9906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66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0" name="Oval 19"/>
            <p:cNvSpPr/>
            <p:nvPr/>
          </p:nvSpPr>
          <p:spPr>
            <a:xfrm>
              <a:off x="8609012" y="1676400"/>
              <a:ext cx="2819400" cy="28194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7000"/>
                  </a:schemeClr>
                </a:gs>
                <a:gs pos="69000">
                  <a:schemeClr val="accent5">
                    <a:alpha val="0"/>
                  </a:schemeClr>
                </a:gs>
                <a:gs pos="36000">
                  <a:schemeClr val="accent5">
                    <a:alpha val="6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1" name="Oval 20"/>
            <p:cNvSpPr/>
            <p:nvPr/>
          </p:nvSpPr>
          <p:spPr>
            <a:xfrm>
              <a:off x="7999412" y="8464"/>
              <a:ext cx="1600200" cy="1600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73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4" name="Freeform 5"/>
            <p:cNvSpPr/>
            <p:nvPr/>
          </p:nvSpPr>
          <p:spPr bwMode="gray">
            <a:xfrm rot="10371525">
              <a:off x="263767" y="4438254"/>
              <a:ext cx="3299407" cy="440924"/>
            </a:xfrm>
            <a:custGeom>
              <a:avLst/>
              <a:gdLst/>
              <a:ahLst/>
              <a:cxnLst/>
              <a:rect l="l" t="t" r="r" b="b"/>
              <a:pathLst>
                <a:path w="10000" h="5291">
                  <a:moveTo>
                    <a:pt x="85" y="2532"/>
                  </a:moveTo>
                  <a:cubicBezTo>
                    <a:pt x="1736" y="3911"/>
                    <a:pt x="7524" y="5298"/>
                    <a:pt x="9958" y="5291"/>
                  </a:cubicBezTo>
                  <a:cubicBezTo>
                    <a:pt x="9989" y="1958"/>
                    <a:pt x="9969" y="3333"/>
                    <a:pt x="10000" y="0"/>
                  </a:cubicBezTo>
                  <a:lnTo>
                    <a:pt x="10000" y="0"/>
                  </a:lnTo>
                  <a:lnTo>
                    <a:pt x="9667" y="204"/>
                  </a:lnTo>
                  <a:lnTo>
                    <a:pt x="9334" y="400"/>
                  </a:lnTo>
                  <a:lnTo>
                    <a:pt x="9001" y="590"/>
                  </a:lnTo>
                  <a:lnTo>
                    <a:pt x="8667" y="753"/>
                  </a:lnTo>
                  <a:lnTo>
                    <a:pt x="8333" y="917"/>
                  </a:lnTo>
                  <a:lnTo>
                    <a:pt x="7999" y="1071"/>
                  </a:lnTo>
                  <a:lnTo>
                    <a:pt x="7669" y="1202"/>
                  </a:lnTo>
                  <a:lnTo>
                    <a:pt x="7333" y="1325"/>
                  </a:lnTo>
                  <a:lnTo>
                    <a:pt x="7000" y="1440"/>
                  </a:lnTo>
                  <a:lnTo>
                    <a:pt x="6673" y="1538"/>
                  </a:lnTo>
                  <a:lnTo>
                    <a:pt x="6340" y="1636"/>
                  </a:lnTo>
                  <a:lnTo>
                    <a:pt x="6013" y="1719"/>
                  </a:lnTo>
                  <a:lnTo>
                    <a:pt x="5686" y="1784"/>
                  </a:lnTo>
                  <a:lnTo>
                    <a:pt x="5359" y="1850"/>
                  </a:lnTo>
                  <a:lnTo>
                    <a:pt x="5036" y="1906"/>
                  </a:lnTo>
                  <a:lnTo>
                    <a:pt x="4717" y="1948"/>
                  </a:lnTo>
                  <a:lnTo>
                    <a:pt x="4396" y="1980"/>
                  </a:lnTo>
                  <a:lnTo>
                    <a:pt x="4079" y="2013"/>
                  </a:lnTo>
                  <a:lnTo>
                    <a:pt x="3766" y="2029"/>
                  </a:lnTo>
                  <a:lnTo>
                    <a:pt x="3454" y="2046"/>
                  </a:lnTo>
                  <a:lnTo>
                    <a:pt x="3145" y="2053"/>
                  </a:lnTo>
                  <a:lnTo>
                    <a:pt x="2839" y="2046"/>
                  </a:lnTo>
                  <a:lnTo>
                    <a:pt x="2537" y="2046"/>
                  </a:lnTo>
                  <a:lnTo>
                    <a:pt x="2238" y="2029"/>
                  </a:lnTo>
                  <a:lnTo>
                    <a:pt x="1943" y="2004"/>
                  </a:lnTo>
                  <a:lnTo>
                    <a:pt x="1653" y="1980"/>
                  </a:lnTo>
                  <a:lnTo>
                    <a:pt x="1368" y="1955"/>
                  </a:lnTo>
                  <a:lnTo>
                    <a:pt x="1085" y="1915"/>
                  </a:lnTo>
                  <a:lnTo>
                    <a:pt x="806" y="1873"/>
                  </a:lnTo>
                  <a:lnTo>
                    <a:pt x="533" y="1833"/>
                  </a:lnTo>
                  <a:lnTo>
                    <a:pt x="0" y="1726"/>
                  </a:lnTo>
                  <a:cubicBezTo>
                    <a:pt x="28" y="1995"/>
                    <a:pt x="57" y="2263"/>
                    <a:pt x="85" y="2532"/>
                  </a:cubicBez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</p:sp>
        <p:sp>
          <p:nvSpPr>
            <p:cNvPr id="11" name="Freeform 5"/>
            <p:cNvSpPr/>
            <p:nvPr/>
          </p:nvSpPr>
          <p:spPr bwMode="gray">
            <a:xfrm rot="10800000">
              <a:off x="459506" y="321130"/>
              <a:ext cx="11277600" cy="4533900"/>
            </a:xfrm>
            <a:custGeom>
              <a:avLst/>
              <a:gdLst/>
              <a:ahLst/>
              <a:cxnLst/>
              <a:rect l="0" t="0" r="r" b="b"/>
              <a:pathLst>
                <a:path w="7104" h="2856">
                  <a:moveTo>
                    <a:pt x="0" y="0"/>
                  </a:moveTo>
                  <a:lnTo>
                    <a:pt x="0" y="2856"/>
                  </a:lnTo>
                  <a:lnTo>
                    <a:pt x="7104" y="2856"/>
                  </a:lnTo>
                  <a:lnTo>
                    <a:pt x="7104" y="1"/>
                  </a:lnTo>
                  <a:lnTo>
                    <a:pt x="7104" y="1"/>
                  </a:lnTo>
                  <a:lnTo>
                    <a:pt x="6943" y="26"/>
                  </a:lnTo>
                  <a:lnTo>
                    <a:pt x="6782" y="50"/>
                  </a:lnTo>
                  <a:lnTo>
                    <a:pt x="6621" y="73"/>
                  </a:lnTo>
                  <a:lnTo>
                    <a:pt x="6459" y="93"/>
                  </a:lnTo>
                  <a:lnTo>
                    <a:pt x="6298" y="113"/>
                  </a:lnTo>
                  <a:lnTo>
                    <a:pt x="6136" y="132"/>
                  </a:lnTo>
                  <a:lnTo>
                    <a:pt x="5976" y="148"/>
                  </a:lnTo>
                  <a:lnTo>
                    <a:pt x="5814" y="163"/>
                  </a:lnTo>
                  <a:lnTo>
                    <a:pt x="5653" y="177"/>
                  </a:lnTo>
                  <a:lnTo>
                    <a:pt x="5494" y="189"/>
                  </a:lnTo>
                  <a:lnTo>
                    <a:pt x="5334" y="201"/>
                  </a:lnTo>
                  <a:lnTo>
                    <a:pt x="5175" y="211"/>
                  </a:lnTo>
                  <a:lnTo>
                    <a:pt x="5017" y="219"/>
                  </a:lnTo>
                  <a:lnTo>
                    <a:pt x="4859" y="227"/>
                  </a:lnTo>
                  <a:lnTo>
                    <a:pt x="4703" y="234"/>
                  </a:lnTo>
                  <a:lnTo>
                    <a:pt x="4548" y="239"/>
                  </a:lnTo>
                  <a:lnTo>
                    <a:pt x="4393" y="243"/>
                  </a:lnTo>
                  <a:lnTo>
                    <a:pt x="4240" y="247"/>
                  </a:lnTo>
                  <a:lnTo>
                    <a:pt x="4088" y="249"/>
                  </a:lnTo>
                  <a:lnTo>
                    <a:pt x="3937" y="251"/>
                  </a:lnTo>
                  <a:lnTo>
                    <a:pt x="3788" y="252"/>
                  </a:lnTo>
                  <a:lnTo>
                    <a:pt x="3640" y="251"/>
                  </a:lnTo>
                  <a:lnTo>
                    <a:pt x="3494" y="251"/>
                  </a:lnTo>
                  <a:lnTo>
                    <a:pt x="3349" y="249"/>
                  </a:lnTo>
                  <a:lnTo>
                    <a:pt x="3207" y="246"/>
                  </a:lnTo>
                  <a:lnTo>
                    <a:pt x="3066" y="243"/>
                  </a:lnTo>
                  <a:lnTo>
                    <a:pt x="2928" y="240"/>
                  </a:lnTo>
                  <a:lnTo>
                    <a:pt x="2791" y="235"/>
                  </a:lnTo>
                  <a:lnTo>
                    <a:pt x="2656" y="230"/>
                  </a:lnTo>
                  <a:lnTo>
                    <a:pt x="2524" y="225"/>
                  </a:lnTo>
                  <a:lnTo>
                    <a:pt x="2266" y="212"/>
                  </a:lnTo>
                  <a:lnTo>
                    <a:pt x="2019" y="198"/>
                  </a:lnTo>
                  <a:lnTo>
                    <a:pt x="1782" y="183"/>
                  </a:lnTo>
                  <a:lnTo>
                    <a:pt x="1557" y="167"/>
                  </a:lnTo>
                  <a:lnTo>
                    <a:pt x="1343" y="150"/>
                  </a:lnTo>
                  <a:lnTo>
                    <a:pt x="1144" y="132"/>
                  </a:lnTo>
                  <a:lnTo>
                    <a:pt x="957" y="114"/>
                  </a:lnTo>
                  <a:lnTo>
                    <a:pt x="785" y="96"/>
                  </a:lnTo>
                  <a:lnTo>
                    <a:pt x="627" y="79"/>
                  </a:lnTo>
                  <a:lnTo>
                    <a:pt x="487" y="63"/>
                  </a:lnTo>
                  <a:lnTo>
                    <a:pt x="361" y="48"/>
                  </a:lnTo>
                  <a:lnTo>
                    <a:pt x="254" y="35"/>
                  </a:lnTo>
                  <a:lnTo>
                    <a:pt x="165" y="23"/>
                  </a:lnTo>
                  <a:lnTo>
                    <a:pt x="42" y="6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  <p:sp>
          <p:nvSpPr>
            <p:cNvPr id="15" name="Freeform 5"/>
            <p:cNvSpPr>
              <a:spLocks noEditPoints="1"/>
            </p:cNvSpPr>
            <p:nvPr/>
          </p:nvSpPr>
          <p:spPr bwMode="gray">
            <a:xfrm>
              <a:off x="0" y="1587"/>
              <a:ext cx="12192000" cy="6856413"/>
            </a:xfrm>
            <a:custGeom>
              <a:avLst/>
              <a:gdLst/>
              <a:ahLst/>
              <a:cxnLst/>
              <a:rect l="0" t="0" r="r" b="b"/>
              <a:pathLst>
                <a:path w="15356" h="8638">
                  <a:moveTo>
                    <a:pt x="0" y="0"/>
                  </a:moveTo>
                  <a:lnTo>
                    <a:pt x="0" y="8638"/>
                  </a:lnTo>
                  <a:lnTo>
                    <a:pt x="15356" y="8638"/>
                  </a:lnTo>
                  <a:lnTo>
                    <a:pt x="15356" y="0"/>
                  </a:lnTo>
                  <a:lnTo>
                    <a:pt x="0" y="0"/>
                  </a:lnTo>
                  <a:close/>
                  <a:moveTo>
                    <a:pt x="14748" y="8038"/>
                  </a:moveTo>
                  <a:lnTo>
                    <a:pt x="600" y="8038"/>
                  </a:lnTo>
                  <a:lnTo>
                    <a:pt x="600" y="592"/>
                  </a:lnTo>
                  <a:lnTo>
                    <a:pt x="14748" y="592"/>
                  </a:lnTo>
                  <a:lnTo>
                    <a:pt x="14748" y="803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4" y="4969927"/>
            <a:ext cx="8825659" cy="566738"/>
          </a:xfrm>
        </p:spPr>
        <p:txBody>
          <a:bodyPr anchor="b">
            <a:normAutofit/>
          </a:bodyPr>
          <a:lstStyle>
            <a:lvl1pPr algn="l">
              <a:defRPr sz="2400" b="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1154954" y="685800"/>
            <a:ext cx="8825659" cy="3429000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GB"/>
              <a:t>Click icon to add picture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54954" y="5536665"/>
            <a:ext cx="8825658" cy="493712"/>
          </a:xfrm>
        </p:spPr>
        <p:txBody>
          <a:bodyPr>
            <a:normAutofit/>
          </a:bodyPr>
          <a:lstStyle>
            <a:lvl1pPr marL="0" indent="0">
              <a:buNone/>
              <a:defRPr sz="1200" b="1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AB982F-A791-44D2-8A6F-A2AA0EED5F70}" type="datetime1">
              <a:rPr lang="en-US" smtClean="0"/>
              <a:t>4/9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50A07A5A-2A98-BE46-B81C-F04AACE92ABD}"/>
              </a:ext>
            </a:extLst>
          </p:cNvPr>
          <p:cNvSpPr/>
          <p:nvPr userDrawn="1"/>
        </p:nvSpPr>
        <p:spPr>
          <a:xfrm>
            <a:off x="10437812" y="0"/>
            <a:ext cx="685800" cy="1143000"/>
          </a:xfrm>
          <a:prstGeom prst="rect">
            <a:avLst/>
          </a:prstGeom>
          <a:solidFill>
            <a:srgbClr val="F1BB2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4" name="Slide Number Placeholder 5">
            <a:extLst>
              <a:ext uri="{FF2B5EF4-FFF2-40B4-BE49-F238E27FC236}">
                <a16:creationId xmlns:a16="http://schemas.microsoft.com/office/drawing/2014/main" id="{BBF3E4C1-600B-4643-AA9A-6E7198C73AB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10352540" y="295729"/>
            <a:ext cx="838199" cy="7676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ctr">
              <a:defRPr sz="2800" b="0" i="0">
                <a:solidFill>
                  <a:schemeClr val="bg1"/>
                </a:solidFill>
              </a:defRPr>
            </a:lvl1pPr>
          </a:lstStyle>
          <a:p>
            <a:fld id="{D57F1E4F-1CFF-5643-939E-217C01CDF565}" type="slidenum">
              <a:rPr lang="en-US" dirty="0"/>
              <a:pPr/>
              <a:t>‹#›</a:t>
            </a:fld>
            <a:endParaRPr lang="en-US"/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EFB37D8B-7630-6740-B2A3-66D22C455AD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532268" y="159768"/>
            <a:ext cx="1369242" cy="444559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Panoramic 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16126C38-0923-FA4A-B953-B7CE5272E3D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6350" y="0"/>
            <a:ext cx="12179300" cy="6858000"/>
          </a:xfrm>
          <a:prstGeom prst="rect">
            <a:avLst/>
          </a:prstGeom>
        </p:spPr>
      </p:pic>
      <p:grpSp>
        <p:nvGrpSpPr>
          <p:cNvPr id="9" name="Group 8"/>
          <p:cNvGrpSpPr/>
          <p:nvPr userDrawn="1"/>
        </p:nvGrpSpPr>
        <p:grpSpPr>
          <a:xfrm>
            <a:off x="-238541" y="-646044"/>
            <a:ext cx="12445217" cy="7523922"/>
            <a:chOff x="0" y="1587"/>
            <a:chExt cx="12192000" cy="6856413"/>
          </a:xfrm>
        </p:grpSpPr>
        <p:sp>
          <p:nvSpPr>
            <p:cNvPr id="18" name="Oval 17"/>
            <p:cNvSpPr/>
            <p:nvPr/>
          </p:nvSpPr>
          <p:spPr>
            <a:xfrm>
              <a:off x="0" y="2895600"/>
              <a:ext cx="2362200" cy="2362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8000"/>
                  </a:schemeClr>
                </a:gs>
                <a:gs pos="72000">
                  <a:schemeClr val="accent5">
                    <a:alpha val="0"/>
                  </a:schemeClr>
                </a:gs>
                <a:gs pos="36000">
                  <a:schemeClr val="accent5">
                    <a:alpha val="8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9" name="Oval 18"/>
            <p:cNvSpPr/>
            <p:nvPr/>
          </p:nvSpPr>
          <p:spPr>
            <a:xfrm>
              <a:off x="8609012" y="5867400"/>
              <a:ext cx="990600" cy="9906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66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0" name="Oval 19"/>
            <p:cNvSpPr/>
            <p:nvPr/>
          </p:nvSpPr>
          <p:spPr>
            <a:xfrm>
              <a:off x="8609012" y="1676400"/>
              <a:ext cx="2819400" cy="28194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7000"/>
                  </a:schemeClr>
                </a:gs>
                <a:gs pos="69000">
                  <a:schemeClr val="accent5">
                    <a:alpha val="0"/>
                  </a:schemeClr>
                </a:gs>
                <a:gs pos="36000">
                  <a:schemeClr val="accent5">
                    <a:alpha val="6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1" name="Oval 20"/>
            <p:cNvSpPr/>
            <p:nvPr/>
          </p:nvSpPr>
          <p:spPr>
            <a:xfrm>
              <a:off x="7999412" y="8464"/>
              <a:ext cx="1600200" cy="1600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73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4" name="Freeform 5"/>
            <p:cNvSpPr/>
            <p:nvPr/>
          </p:nvSpPr>
          <p:spPr bwMode="gray">
            <a:xfrm rot="10371525">
              <a:off x="263767" y="4438254"/>
              <a:ext cx="3299407" cy="440924"/>
            </a:xfrm>
            <a:custGeom>
              <a:avLst/>
              <a:gdLst/>
              <a:ahLst/>
              <a:cxnLst/>
              <a:rect l="l" t="t" r="r" b="b"/>
              <a:pathLst>
                <a:path w="10000" h="5291">
                  <a:moveTo>
                    <a:pt x="85" y="2532"/>
                  </a:moveTo>
                  <a:cubicBezTo>
                    <a:pt x="1736" y="3911"/>
                    <a:pt x="7524" y="5298"/>
                    <a:pt x="9958" y="5291"/>
                  </a:cubicBezTo>
                  <a:cubicBezTo>
                    <a:pt x="9989" y="1958"/>
                    <a:pt x="9969" y="3333"/>
                    <a:pt x="10000" y="0"/>
                  </a:cubicBezTo>
                  <a:lnTo>
                    <a:pt x="10000" y="0"/>
                  </a:lnTo>
                  <a:lnTo>
                    <a:pt x="9667" y="204"/>
                  </a:lnTo>
                  <a:lnTo>
                    <a:pt x="9334" y="400"/>
                  </a:lnTo>
                  <a:lnTo>
                    <a:pt x="9001" y="590"/>
                  </a:lnTo>
                  <a:lnTo>
                    <a:pt x="8667" y="753"/>
                  </a:lnTo>
                  <a:lnTo>
                    <a:pt x="8333" y="917"/>
                  </a:lnTo>
                  <a:lnTo>
                    <a:pt x="7999" y="1071"/>
                  </a:lnTo>
                  <a:lnTo>
                    <a:pt x="7669" y="1202"/>
                  </a:lnTo>
                  <a:lnTo>
                    <a:pt x="7333" y="1325"/>
                  </a:lnTo>
                  <a:lnTo>
                    <a:pt x="7000" y="1440"/>
                  </a:lnTo>
                  <a:lnTo>
                    <a:pt x="6673" y="1538"/>
                  </a:lnTo>
                  <a:lnTo>
                    <a:pt x="6340" y="1636"/>
                  </a:lnTo>
                  <a:lnTo>
                    <a:pt x="6013" y="1719"/>
                  </a:lnTo>
                  <a:lnTo>
                    <a:pt x="5686" y="1784"/>
                  </a:lnTo>
                  <a:lnTo>
                    <a:pt x="5359" y="1850"/>
                  </a:lnTo>
                  <a:lnTo>
                    <a:pt x="5036" y="1906"/>
                  </a:lnTo>
                  <a:lnTo>
                    <a:pt x="4717" y="1948"/>
                  </a:lnTo>
                  <a:lnTo>
                    <a:pt x="4396" y="1980"/>
                  </a:lnTo>
                  <a:lnTo>
                    <a:pt x="4079" y="2013"/>
                  </a:lnTo>
                  <a:lnTo>
                    <a:pt x="3766" y="2029"/>
                  </a:lnTo>
                  <a:lnTo>
                    <a:pt x="3454" y="2046"/>
                  </a:lnTo>
                  <a:lnTo>
                    <a:pt x="3145" y="2053"/>
                  </a:lnTo>
                  <a:lnTo>
                    <a:pt x="2839" y="2046"/>
                  </a:lnTo>
                  <a:lnTo>
                    <a:pt x="2537" y="2046"/>
                  </a:lnTo>
                  <a:lnTo>
                    <a:pt x="2238" y="2029"/>
                  </a:lnTo>
                  <a:lnTo>
                    <a:pt x="1943" y="2004"/>
                  </a:lnTo>
                  <a:lnTo>
                    <a:pt x="1653" y="1980"/>
                  </a:lnTo>
                  <a:lnTo>
                    <a:pt x="1368" y="1955"/>
                  </a:lnTo>
                  <a:lnTo>
                    <a:pt x="1085" y="1915"/>
                  </a:lnTo>
                  <a:lnTo>
                    <a:pt x="806" y="1873"/>
                  </a:lnTo>
                  <a:lnTo>
                    <a:pt x="533" y="1833"/>
                  </a:lnTo>
                  <a:lnTo>
                    <a:pt x="0" y="1726"/>
                  </a:lnTo>
                  <a:cubicBezTo>
                    <a:pt x="28" y="1995"/>
                    <a:pt x="57" y="2263"/>
                    <a:pt x="85" y="2532"/>
                  </a:cubicBez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</p:sp>
        <p:sp>
          <p:nvSpPr>
            <p:cNvPr id="11" name="Freeform 5"/>
            <p:cNvSpPr/>
            <p:nvPr/>
          </p:nvSpPr>
          <p:spPr bwMode="gray">
            <a:xfrm rot="10800000">
              <a:off x="459506" y="321130"/>
              <a:ext cx="11277600" cy="4533900"/>
            </a:xfrm>
            <a:custGeom>
              <a:avLst/>
              <a:gdLst/>
              <a:ahLst/>
              <a:cxnLst/>
              <a:rect l="0" t="0" r="r" b="b"/>
              <a:pathLst>
                <a:path w="7104" h="2856">
                  <a:moveTo>
                    <a:pt x="0" y="0"/>
                  </a:moveTo>
                  <a:lnTo>
                    <a:pt x="0" y="2856"/>
                  </a:lnTo>
                  <a:lnTo>
                    <a:pt x="7104" y="2856"/>
                  </a:lnTo>
                  <a:lnTo>
                    <a:pt x="7104" y="1"/>
                  </a:lnTo>
                  <a:lnTo>
                    <a:pt x="7104" y="1"/>
                  </a:lnTo>
                  <a:lnTo>
                    <a:pt x="6943" y="26"/>
                  </a:lnTo>
                  <a:lnTo>
                    <a:pt x="6782" y="50"/>
                  </a:lnTo>
                  <a:lnTo>
                    <a:pt x="6621" y="73"/>
                  </a:lnTo>
                  <a:lnTo>
                    <a:pt x="6459" y="93"/>
                  </a:lnTo>
                  <a:lnTo>
                    <a:pt x="6298" y="113"/>
                  </a:lnTo>
                  <a:lnTo>
                    <a:pt x="6136" y="132"/>
                  </a:lnTo>
                  <a:lnTo>
                    <a:pt x="5976" y="148"/>
                  </a:lnTo>
                  <a:lnTo>
                    <a:pt x="5814" y="163"/>
                  </a:lnTo>
                  <a:lnTo>
                    <a:pt x="5653" y="177"/>
                  </a:lnTo>
                  <a:lnTo>
                    <a:pt x="5494" y="189"/>
                  </a:lnTo>
                  <a:lnTo>
                    <a:pt x="5334" y="201"/>
                  </a:lnTo>
                  <a:lnTo>
                    <a:pt x="5175" y="211"/>
                  </a:lnTo>
                  <a:lnTo>
                    <a:pt x="5017" y="219"/>
                  </a:lnTo>
                  <a:lnTo>
                    <a:pt x="4859" y="227"/>
                  </a:lnTo>
                  <a:lnTo>
                    <a:pt x="4703" y="234"/>
                  </a:lnTo>
                  <a:lnTo>
                    <a:pt x="4548" y="239"/>
                  </a:lnTo>
                  <a:lnTo>
                    <a:pt x="4393" y="243"/>
                  </a:lnTo>
                  <a:lnTo>
                    <a:pt x="4240" y="247"/>
                  </a:lnTo>
                  <a:lnTo>
                    <a:pt x="4088" y="249"/>
                  </a:lnTo>
                  <a:lnTo>
                    <a:pt x="3937" y="251"/>
                  </a:lnTo>
                  <a:lnTo>
                    <a:pt x="3788" y="252"/>
                  </a:lnTo>
                  <a:lnTo>
                    <a:pt x="3640" y="251"/>
                  </a:lnTo>
                  <a:lnTo>
                    <a:pt x="3494" y="251"/>
                  </a:lnTo>
                  <a:lnTo>
                    <a:pt x="3349" y="249"/>
                  </a:lnTo>
                  <a:lnTo>
                    <a:pt x="3207" y="246"/>
                  </a:lnTo>
                  <a:lnTo>
                    <a:pt x="3066" y="243"/>
                  </a:lnTo>
                  <a:lnTo>
                    <a:pt x="2928" y="240"/>
                  </a:lnTo>
                  <a:lnTo>
                    <a:pt x="2791" y="235"/>
                  </a:lnTo>
                  <a:lnTo>
                    <a:pt x="2656" y="230"/>
                  </a:lnTo>
                  <a:lnTo>
                    <a:pt x="2524" y="225"/>
                  </a:lnTo>
                  <a:lnTo>
                    <a:pt x="2266" y="212"/>
                  </a:lnTo>
                  <a:lnTo>
                    <a:pt x="2019" y="198"/>
                  </a:lnTo>
                  <a:lnTo>
                    <a:pt x="1782" y="183"/>
                  </a:lnTo>
                  <a:lnTo>
                    <a:pt x="1557" y="167"/>
                  </a:lnTo>
                  <a:lnTo>
                    <a:pt x="1343" y="150"/>
                  </a:lnTo>
                  <a:lnTo>
                    <a:pt x="1144" y="132"/>
                  </a:lnTo>
                  <a:lnTo>
                    <a:pt x="957" y="114"/>
                  </a:lnTo>
                  <a:lnTo>
                    <a:pt x="785" y="96"/>
                  </a:lnTo>
                  <a:lnTo>
                    <a:pt x="627" y="79"/>
                  </a:lnTo>
                  <a:lnTo>
                    <a:pt x="487" y="63"/>
                  </a:lnTo>
                  <a:lnTo>
                    <a:pt x="361" y="48"/>
                  </a:lnTo>
                  <a:lnTo>
                    <a:pt x="254" y="35"/>
                  </a:lnTo>
                  <a:lnTo>
                    <a:pt x="165" y="23"/>
                  </a:lnTo>
                  <a:lnTo>
                    <a:pt x="42" y="6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  <p:sp>
          <p:nvSpPr>
            <p:cNvPr id="15" name="Freeform 5"/>
            <p:cNvSpPr>
              <a:spLocks noEditPoints="1"/>
            </p:cNvSpPr>
            <p:nvPr/>
          </p:nvSpPr>
          <p:spPr bwMode="gray">
            <a:xfrm>
              <a:off x="0" y="1587"/>
              <a:ext cx="12192000" cy="6856413"/>
            </a:xfrm>
            <a:custGeom>
              <a:avLst/>
              <a:gdLst/>
              <a:ahLst/>
              <a:cxnLst/>
              <a:rect l="0" t="0" r="r" b="b"/>
              <a:pathLst>
                <a:path w="15356" h="8638">
                  <a:moveTo>
                    <a:pt x="0" y="0"/>
                  </a:moveTo>
                  <a:lnTo>
                    <a:pt x="0" y="8638"/>
                  </a:lnTo>
                  <a:lnTo>
                    <a:pt x="15356" y="8638"/>
                  </a:lnTo>
                  <a:lnTo>
                    <a:pt x="15356" y="0"/>
                  </a:lnTo>
                  <a:lnTo>
                    <a:pt x="0" y="0"/>
                  </a:lnTo>
                  <a:close/>
                  <a:moveTo>
                    <a:pt x="14748" y="8038"/>
                  </a:moveTo>
                  <a:lnTo>
                    <a:pt x="600" y="8038"/>
                  </a:lnTo>
                  <a:lnTo>
                    <a:pt x="600" y="592"/>
                  </a:lnTo>
                  <a:lnTo>
                    <a:pt x="14748" y="592"/>
                  </a:lnTo>
                  <a:lnTo>
                    <a:pt x="14748" y="803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4" y="4969927"/>
            <a:ext cx="8825659" cy="566738"/>
          </a:xfrm>
        </p:spPr>
        <p:txBody>
          <a:bodyPr anchor="b">
            <a:normAutofit/>
          </a:bodyPr>
          <a:lstStyle>
            <a:lvl1pPr algn="l">
              <a:defRPr sz="2400" b="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1154954" y="685800"/>
            <a:ext cx="8825659" cy="3429000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GB"/>
              <a:t>Click icon to add picture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54954" y="5536665"/>
            <a:ext cx="8825658" cy="493712"/>
          </a:xfrm>
        </p:spPr>
        <p:txBody>
          <a:bodyPr>
            <a:normAutofit/>
          </a:bodyPr>
          <a:lstStyle>
            <a:lvl1pPr marL="0" indent="0">
              <a:buNone/>
              <a:defRPr sz="1200" b="1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483D60-919A-4DDB-A5CF-AAFB4B5430BE}" type="datetime1">
              <a:rPr lang="en-US" smtClean="0"/>
              <a:t>4/9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C93E5807-AF57-0447-8870-3827702E892C}"/>
              </a:ext>
            </a:extLst>
          </p:cNvPr>
          <p:cNvSpPr/>
          <p:nvPr userDrawn="1"/>
        </p:nvSpPr>
        <p:spPr>
          <a:xfrm>
            <a:off x="10437812" y="0"/>
            <a:ext cx="685800" cy="1143000"/>
          </a:xfrm>
          <a:prstGeom prst="rect">
            <a:avLst/>
          </a:prstGeom>
          <a:solidFill>
            <a:srgbClr val="F1BB2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4" name="Slide Number Placeholder 5">
            <a:extLst>
              <a:ext uri="{FF2B5EF4-FFF2-40B4-BE49-F238E27FC236}">
                <a16:creationId xmlns:a16="http://schemas.microsoft.com/office/drawing/2014/main" id="{670A115F-BA6A-AE46-B831-1F752168E5F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10352540" y="295729"/>
            <a:ext cx="838199" cy="7676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ctr">
              <a:defRPr sz="2800" b="0" i="0">
                <a:solidFill>
                  <a:schemeClr val="bg1"/>
                </a:solidFill>
              </a:defRPr>
            </a:lvl1pPr>
          </a:lstStyle>
          <a:p>
            <a:fld id="{D57F1E4F-1CFF-5643-939E-217C01CDF565}" type="slidenum">
              <a:rPr lang="en-US" dirty="0"/>
              <a:pPr/>
              <a:t>‹#›</a:t>
            </a:fld>
            <a:endParaRPr lang="en-US"/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724BB36F-45EB-2349-BBA8-578C70BF9E0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532268" y="159768"/>
            <a:ext cx="1369242" cy="4445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770144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and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922BCE76-54BE-554B-8E6D-BFCBD968D2E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350" y="0"/>
            <a:ext cx="121793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8798" y="1063417"/>
            <a:ext cx="8831816" cy="1372986"/>
          </a:xfrm>
        </p:spPr>
        <p:txBody>
          <a:bodyPr/>
          <a:lstStyle>
            <a:lvl1pPr>
              <a:defRPr sz="40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8" name="Text Placeholder 3"/>
          <p:cNvSpPr>
            <a:spLocks noGrp="1"/>
          </p:cNvSpPr>
          <p:nvPr>
            <p:ph type="body" sz="half" idx="2"/>
          </p:nvPr>
        </p:nvSpPr>
        <p:spPr>
          <a:xfrm>
            <a:off x="1154954" y="3543300"/>
            <a:ext cx="8825659" cy="2476500"/>
          </a:xfrm>
        </p:spPr>
        <p:txBody>
          <a:bodyPr anchor="ctr">
            <a:normAutofit/>
          </a:bodyPr>
          <a:lstStyle>
            <a:lvl1pPr marL="0" indent="0">
              <a:buNone/>
              <a:defRPr sz="18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047E06-0EF5-43A1-B3E4-212C152C53B5}" type="datetime1">
              <a:rPr lang="en-US" smtClean="0"/>
              <a:t>4/9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7A0288E-30E4-474C-992B-1ADED020006D}"/>
              </a:ext>
            </a:extLst>
          </p:cNvPr>
          <p:cNvSpPr/>
          <p:nvPr userDrawn="1"/>
        </p:nvSpPr>
        <p:spPr>
          <a:xfrm>
            <a:off x="10437812" y="0"/>
            <a:ext cx="685800" cy="1143000"/>
          </a:xfrm>
          <a:prstGeom prst="rect">
            <a:avLst/>
          </a:prstGeom>
          <a:solidFill>
            <a:srgbClr val="F1BB2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BDCA2926-B1A9-4947-8749-F7C256791E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10352540" y="295729"/>
            <a:ext cx="838199" cy="7676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ctr">
              <a:defRPr sz="2800" b="0" i="0">
                <a:solidFill>
                  <a:schemeClr val="bg1"/>
                </a:solidFill>
              </a:defRPr>
            </a:lvl1pPr>
          </a:lstStyle>
          <a:p>
            <a:fld id="{D57F1E4F-1CFF-5643-939E-217C01CDF565}" type="slidenum">
              <a:rPr lang="en-US" dirty="0"/>
              <a:pPr/>
              <a:t>‹#›</a:t>
            </a:fld>
            <a:endParaRPr lang="en-US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4C7A160D-1896-E843-9396-450D947FABD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10438991" y="6226146"/>
            <a:ext cx="1369242" cy="444559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le and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922BCE76-54BE-554B-8E6D-BFCBD968D2E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6350" y="0"/>
            <a:ext cx="121793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8798" y="1063417"/>
            <a:ext cx="8831816" cy="1372986"/>
          </a:xfrm>
        </p:spPr>
        <p:txBody>
          <a:bodyPr/>
          <a:lstStyle>
            <a:lvl1pPr>
              <a:defRPr sz="40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8" name="Text Placeholder 3"/>
          <p:cNvSpPr>
            <a:spLocks noGrp="1"/>
          </p:cNvSpPr>
          <p:nvPr>
            <p:ph type="body" sz="half" idx="2"/>
          </p:nvPr>
        </p:nvSpPr>
        <p:spPr>
          <a:xfrm>
            <a:off x="1154954" y="3543300"/>
            <a:ext cx="8825659" cy="2476500"/>
          </a:xfrm>
        </p:spPr>
        <p:txBody>
          <a:bodyPr anchor="ctr">
            <a:normAutofit/>
          </a:bodyPr>
          <a:lstStyle>
            <a:lvl1pPr marL="0" indent="0">
              <a:buNone/>
              <a:defRPr sz="18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4F5D8A-A534-4932-BCBE-93427359DC79}" type="datetime1">
              <a:rPr lang="en-US" smtClean="0"/>
              <a:t>4/9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8880B4C-2425-B245-AAF6-AA4D819D3334}"/>
              </a:ext>
            </a:extLst>
          </p:cNvPr>
          <p:cNvSpPr/>
          <p:nvPr userDrawn="1"/>
        </p:nvSpPr>
        <p:spPr>
          <a:xfrm>
            <a:off x="10437812" y="0"/>
            <a:ext cx="685800" cy="1143000"/>
          </a:xfrm>
          <a:prstGeom prst="rect">
            <a:avLst/>
          </a:prstGeom>
          <a:solidFill>
            <a:srgbClr val="F1BB2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B5735832-F07E-C543-BD23-076A01B6072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10352540" y="295729"/>
            <a:ext cx="838199" cy="7676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ctr">
              <a:defRPr sz="2800" b="0" i="0">
                <a:solidFill>
                  <a:schemeClr val="bg1"/>
                </a:solidFill>
              </a:defRPr>
            </a:lvl1pPr>
          </a:lstStyle>
          <a:p>
            <a:fld id="{D57F1E4F-1CFF-5643-939E-217C01CDF565}" type="slidenum">
              <a:rPr lang="en-US" dirty="0"/>
              <a:pPr/>
              <a:t>‹#›</a:t>
            </a:fld>
            <a:endParaRPr lang="en-US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0257038C-970D-724A-B53B-CED58306C2FD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10438991" y="6226146"/>
            <a:ext cx="1369242" cy="4445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889384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close up of a screen&#10;&#10;Description automatically generated">
            <a:extLst>
              <a:ext uri="{FF2B5EF4-FFF2-40B4-BE49-F238E27FC236}">
                <a16:creationId xmlns:a16="http://schemas.microsoft.com/office/drawing/2014/main" id="{3CE87F04-4C18-434C-BE5F-17BA1AD9FAC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350" y="0"/>
            <a:ext cx="12179300" cy="6858000"/>
          </a:xfrm>
          <a:prstGeom prst="rect">
            <a:avLst/>
          </a:prstGeom>
        </p:spPr>
      </p:pic>
      <p:sp>
        <p:nvSpPr>
          <p:cNvPr id="16" name="TextBox 15"/>
          <p:cNvSpPr txBox="1"/>
          <p:nvPr/>
        </p:nvSpPr>
        <p:spPr bwMode="gray">
          <a:xfrm>
            <a:off x="881566" y="607336"/>
            <a:ext cx="801912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9600" b="0" i="0">
                <a:solidFill>
                  <a:schemeClr val="bg1"/>
                </a:solidFill>
                <a:latin typeface="Arial"/>
                <a:cs typeface="Arial"/>
              </a:rPr>
              <a:t>“</a:t>
            </a:r>
          </a:p>
        </p:txBody>
      </p:sp>
      <p:sp>
        <p:nvSpPr>
          <p:cNvPr id="13" name="TextBox 12"/>
          <p:cNvSpPr txBox="1"/>
          <p:nvPr/>
        </p:nvSpPr>
        <p:spPr bwMode="gray">
          <a:xfrm>
            <a:off x="9884458" y="2613787"/>
            <a:ext cx="652763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9600" b="0" i="0">
                <a:solidFill>
                  <a:schemeClr val="bg1"/>
                </a:solidFill>
                <a:latin typeface="Arial"/>
                <a:cs typeface="Arial"/>
              </a:rPr>
              <a:t>”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1878" y="982134"/>
            <a:ext cx="8453906" cy="2696632"/>
          </a:xfrm>
        </p:spPr>
        <p:txBody>
          <a:bodyPr/>
          <a:lstStyle>
            <a:lvl1pPr>
              <a:defRPr sz="40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4" name="Text Placeholder 3"/>
          <p:cNvSpPr>
            <a:spLocks noGrp="1"/>
          </p:cNvSpPr>
          <p:nvPr>
            <p:ph type="body" sz="half" idx="13"/>
          </p:nvPr>
        </p:nvSpPr>
        <p:spPr bwMode="gray">
          <a:xfrm>
            <a:off x="1945945" y="3678766"/>
            <a:ext cx="7731219" cy="342174"/>
          </a:xfrm>
        </p:spPr>
        <p:txBody>
          <a:bodyPr anchor="t">
            <a:normAutofit/>
          </a:bodyPr>
          <a:lstStyle>
            <a:lvl1pPr marL="0" indent="0">
              <a:buNone/>
              <a:defRPr lang="en-US" sz="1400" b="1" i="0" kern="1200" cap="small" dirty="0">
                <a:solidFill>
                  <a:schemeClr val="bg1"/>
                </a:solidFill>
                <a:latin typeface="+mn-lt"/>
                <a:ea typeface="+mn-ea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half" idx="2"/>
          </p:nvPr>
        </p:nvSpPr>
        <p:spPr>
          <a:xfrm>
            <a:off x="1154954" y="5029199"/>
            <a:ext cx="9244897" cy="997857"/>
          </a:xfrm>
        </p:spPr>
        <p:txBody>
          <a:bodyPr anchor="ctr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4A0B63-134E-402F-BA60-FA86130E9629}" type="datetime1">
              <a:rPr lang="en-US" smtClean="0"/>
              <a:t>4/9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C866B585-61D3-524C-A293-4CB3333A9FA8}"/>
              </a:ext>
            </a:extLst>
          </p:cNvPr>
          <p:cNvSpPr/>
          <p:nvPr userDrawn="1"/>
        </p:nvSpPr>
        <p:spPr>
          <a:xfrm>
            <a:off x="10437812" y="0"/>
            <a:ext cx="685800" cy="1143000"/>
          </a:xfrm>
          <a:prstGeom prst="rect">
            <a:avLst/>
          </a:prstGeom>
          <a:solidFill>
            <a:srgbClr val="F1BB2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01DBFC57-D7AC-2F41-8A20-46A87D7F506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10352540" y="295729"/>
            <a:ext cx="838199" cy="7676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ctr">
              <a:defRPr sz="2800" b="0" i="0">
                <a:solidFill>
                  <a:schemeClr val="bg1"/>
                </a:solidFill>
              </a:defRPr>
            </a:lvl1pPr>
          </a:lstStyle>
          <a:p>
            <a:fld id="{D57F1E4F-1CFF-5643-939E-217C01CDF565}" type="slidenum">
              <a:rPr lang="en-US" dirty="0"/>
              <a:pPr/>
              <a:t>‹#›</a:t>
            </a:fld>
            <a:endParaRPr lang="en-US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277867BA-9424-1447-B996-10D6F5EA821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10438991" y="6226146"/>
            <a:ext cx="1369242" cy="444559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Quot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3CE87F04-4C18-434C-BE5F-17BA1AD9FAC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6350" y="0"/>
            <a:ext cx="12179300" cy="6858000"/>
          </a:xfrm>
          <a:prstGeom prst="rect">
            <a:avLst/>
          </a:prstGeom>
        </p:spPr>
      </p:pic>
      <p:sp>
        <p:nvSpPr>
          <p:cNvPr id="16" name="TextBox 15"/>
          <p:cNvSpPr txBox="1"/>
          <p:nvPr/>
        </p:nvSpPr>
        <p:spPr bwMode="gray">
          <a:xfrm>
            <a:off x="881566" y="607336"/>
            <a:ext cx="801912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9600" b="0" i="0">
                <a:solidFill>
                  <a:schemeClr val="bg1"/>
                </a:solidFill>
                <a:latin typeface="Arial"/>
                <a:cs typeface="Arial"/>
              </a:rPr>
              <a:t>“</a:t>
            </a:r>
          </a:p>
        </p:txBody>
      </p:sp>
      <p:sp>
        <p:nvSpPr>
          <p:cNvPr id="13" name="TextBox 12"/>
          <p:cNvSpPr txBox="1"/>
          <p:nvPr/>
        </p:nvSpPr>
        <p:spPr bwMode="gray">
          <a:xfrm>
            <a:off x="9884458" y="2613787"/>
            <a:ext cx="652763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9600" b="0" i="0">
                <a:solidFill>
                  <a:schemeClr val="bg1"/>
                </a:solidFill>
                <a:latin typeface="Arial"/>
                <a:cs typeface="Arial"/>
              </a:rPr>
              <a:t>”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1878" y="982134"/>
            <a:ext cx="8453906" cy="2696632"/>
          </a:xfrm>
        </p:spPr>
        <p:txBody>
          <a:bodyPr/>
          <a:lstStyle>
            <a:lvl1pPr>
              <a:defRPr sz="40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4" name="Text Placeholder 3"/>
          <p:cNvSpPr>
            <a:spLocks noGrp="1"/>
          </p:cNvSpPr>
          <p:nvPr>
            <p:ph type="body" sz="half" idx="13"/>
          </p:nvPr>
        </p:nvSpPr>
        <p:spPr bwMode="gray">
          <a:xfrm>
            <a:off x="1945945" y="3678766"/>
            <a:ext cx="7731219" cy="342174"/>
          </a:xfrm>
        </p:spPr>
        <p:txBody>
          <a:bodyPr anchor="t">
            <a:normAutofit/>
          </a:bodyPr>
          <a:lstStyle>
            <a:lvl1pPr marL="0" indent="0">
              <a:buNone/>
              <a:defRPr lang="en-US" sz="1400" b="1" i="0" kern="1200" cap="small" dirty="0">
                <a:solidFill>
                  <a:schemeClr val="bg1"/>
                </a:solidFill>
                <a:latin typeface="+mn-lt"/>
                <a:ea typeface="+mn-ea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half" idx="2"/>
          </p:nvPr>
        </p:nvSpPr>
        <p:spPr>
          <a:xfrm>
            <a:off x="1154954" y="5029199"/>
            <a:ext cx="9244897" cy="997857"/>
          </a:xfrm>
        </p:spPr>
        <p:txBody>
          <a:bodyPr anchor="ctr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22D98B-B832-4B31-9AB2-2D5904972446}" type="datetime1">
              <a:rPr lang="en-US" smtClean="0"/>
              <a:t>4/9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675A34CF-8F6D-4146-A836-A6980E8E078E}"/>
              </a:ext>
            </a:extLst>
          </p:cNvPr>
          <p:cNvSpPr/>
          <p:nvPr userDrawn="1"/>
        </p:nvSpPr>
        <p:spPr>
          <a:xfrm>
            <a:off x="10437812" y="0"/>
            <a:ext cx="685800" cy="1143000"/>
          </a:xfrm>
          <a:prstGeom prst="rect">
            <a:avLst/>
          </a:prstGeom>
          <a:solidFill>
            <a:srgbClr val="F1BB2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487871EB-DD7F-FB4D-BFB6-31395A49C6D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10352540" y="295729"/>
            <a:ext cx="838199" cy="7676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ctr">
              <a:defRPr sz="2800" b="0" i="0">
                <a:solidFill>
                  <a:schemeClr val="bg1"/>
                </a:solidFill>
              </a:defRPr>
            </a:lvl1pPr>
          </a:lstStyle>
          <a:p>
            <a:fld id="{D57F1E4F-1CFF-5643-939E-217C01CDF565}" type="slidenum">
              <a:rPr lang="en-US" dirty="0"/>
              <a:pPr/>
              <a:t>‹#›</a:t>
            </a:fld>
            <a:endParaRPr lang="en-US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41443265-34DA-5043-B803-3FEA2E817012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10438991" y="6226146"/>
            <a:ext cx="1369242" cy="4445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004743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53275AEC-44C6-D94D-BB61-6CF703E79C8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-13944"/>
            <a:ext cx="121793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54955" y="2099733"/>
            <a:ext cx="8825658" cy="2677648"/>
          </a:xfrm>
        </p:spPr>
        <p:txBody>
          <a:bodyPr anchor="b"/>
          <a:lstStyle>
            <a:lvl1pPr>
              <a:defRPr sz="54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1154955" y="4777380"/>
            <a:ext cx="8825658" cy="861420"/>
          </a:xfrm>
        </p:spPr>
        <p:txBody>
          <a:bodyPr anchor="t"/>
          <a:lstStyle>
            <a:lvl1pPr marL="0" indent="0" algn="l">
              <a:buNone/>
              <a:defRPr b="1" cap="all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>
          <a:xfrm rot="5400000">
            <a:off x="10158984" y="1792224"/>
            <a:ext cx="990599" cy="304799"/>
          </a:xfrm>
        </p:spPr>
        <p:txBody>
          <a:bodyPr anchor="t"/>
          <a:lstStyle>
            <a:lvl1pPr algn="l">
              <a:defRPr b="0" i="0">
                <a:solidFill>
                  <a:schemeClr val="bg1">
                    <a:alpha val="60000"/>
                  </a:schemeClr>
                </a:solidFill>
              </a:defRPr>
            </a:lvl1pPr>
          </a:lstStyle>
          <a:p>
            <a:fld id="{F87CE3E3-E5D4-485D-9D30-389C0506058E}" type="datetime1">
              <a:rPr lang="en-US" smtClean="0"/>
              <a:t>4/9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>
          <a:xfrm rot="5400000">
            <a:off x="8951976" y="3227832"/>
            <a:ext cx="3859795" cy="304801"/>
          </a:xfrm>
        </p:spPr>
        <p:txBody>
          <a:bodyPr/>
          <a:lstStyle>
            <a:lvl1pPr>
              <a:defRPr b="0" i="0">
                <a:solidFill>
                  <a:schemeClr val="bg1">
                    <a:alpha val="60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D4049B4-0980-E94E-8E46-6DB355AB7D4E}"/>
              </a:ext>
            </a:extLst>
          </p:cNvPr>
          <p:cNvSpPr/>
          <p:nvPr userDrawn="1"/>
        </p:nvSpPr>
        <p:spPr>
          <a:xfrm>
            <a:off x="10437812" y="0"/>
            <a:ext cx="685800" cy="1143000"/>
          </a:xfrm>
          <a:prstGeom prst="rect">
            <a:avLst/>
          </a:prstGeom>
          <a:solidFill>
            <a:srgbClr val="F1BB2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C9A5AE68-48CF-9B4A-B81B-4C472F0F879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10352540" y="295729"/>
            <a:ext cx="838199" cy="7676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ctr">
              <a:defRPr sz="2800" b="0" i="0">
                <a:solidFill>
                  <a:schemeClr val="bg1"/>
                </a:solidFill>
              </a:defRPr>
            </a:lvl1pPr>
          </a:lstStyle>
          <a:p>
            <a:fld id="{D57F1E4F-1CFF-5643-939E-217C01CDF565}" type="slidenum">
              <a:rPr lang="en-US" dirty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0689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A close up of a screen&#10;&#10;Description automatically generated">
            <a:extLst>
              <a:ext uri="{FF2B5EF4-FFF2-40B4-BE49-F238E27FC236}">
                <a16:creationId xmlns:a16="http://schemas.microsoft.com/office/drawing/2014/main" id="{A100CC76-B48B-974E-8F78-1C37978D8DB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350" y="0"/>
            <a:ext cx="121793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4" y="2370667"/>
            <a:ext cx="8825660" cy="1822514"/>
          </a:xfrm>
        </p:spPr>
        <p:txBody>
          <a:bodyPr anchor="b"/>
          <a:lstStyle>
            <a:lvl1pPr algn="l">
              <a:defRPr sz="4000" b="0" cap="none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54954" y="5024967"/>
            <a:ext cx="8825659" cy="860400"/>
          </a:xfrm>
        </p:spPr>
        <p:txBody>
          <a:bodyPr anchor="t"/>
          <a:lstStyle>
            <a:lvl1pPr marL="0" indent="0" algn="l">
              <a:buNone/>
              <a:defRPr sz="2000" cap="none">
                <a:solidFill>
                  <a:schemeClr val="bg2">
                    <a:lumMod val="1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906825-994C-4997-9611-314E0C7F41B0}" type="datetime1">
              <a:rPr lang="en-US" smtClean="0"/>
              <a:t>4/9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2247811F-003A-B043-9AC8-9556381DBA23}"/>
              </a:ext>
            </a:extLst>
          </p:cNvPr>
          <p:cNvSpPr/>
          <p:nvPr userDrawn="1"/>
        </p:nvSpPr>
        <p:spPr>
          <a:xfrm>
            <a:off x="10437812" y="0"/>
            <a:ext cx="685800" cy="1143000"/>
          </a:xfrm>
          <a:prstGeom prst="rect">
            <a:avLst/>
          </a:prstGeom>
          <a:solidFill>
            <a:srgbClr val="F1BB2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9871CCED-1E64-AA42-88D9-1DD47DC08D4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10352540" y="295729"/>
            <a:ext cx="838199" cy="7676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ctr">
              <a:defRPr sz="2800" b="0" i="0">
                <a:solidFill>
                  <a:schemeClr val="bg1"/>
                </a:solidFill>
              </a:defRPr>
            </a:lvl1pPr>
          </a:lstStyle>
          <a:p>
            <a:fld id="{D57F1E4F-1CFF-5643-939E-217C01CDF565}" type="slidenum">
              <a:rPr lang="en-US" dirty="0"/>
              <a:pPr/>
              <a:t>‹#›</a:t>
            </a:fld>
            <a:endParaRPr lang="en-US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98C8E803-3C1E-2746-9443-F435828D8DE2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10438991" y="6226146"/>
            <a:ext cx="1369242" cy="444559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A100CC76-B48B-974E-8F78-1C37978D8DB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6350" y="0"/>
            <a:ext cx="121793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4" y="2370667"/>
            <a:ext cx="8825660" cy="1822514"/>
          </a:xfrm>
        </p:spPr>
        <p:txBody>
          <a:bodyPr anchor="b"/>
          <a:lstStyle>
            <a:lvl1pPr algn="l">
              <a:defRPr sz="4000" b="0" cap="none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54954" y="5024967"/>
            <a:ext cx="8825659" cy="860400"/>
          </a:xfrm>
        </p:spPr>
        <p:txBody>
          <a:bodyPr anchor="t"/>
          <a:lstStyle>
            <a:lvl1pPr marL="0" indent="0" algn="l">
              <a:buNone/>
              <a:defRPr sz="2000" cap="none">
                <a:solidFill>
                  <a:schemeClr val="bg2">
                    <a:lumMod val="1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4B7A60-B673-4D48-A5CC-1C136CE61DBE}" type="datetime1">
              <a:rPr lang="en-US" smtClean="0"/>
              <a:t>4/9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921650C-9C0C-AF49-ABC4-AE6C2901EA3F}"/>
              </a:ext>
            </a:extLst>
          </p:cNvPr>
          <p:cNvSpPr/>
          <p:nvPr userDrawn="1"/>
        </p:nvSpPr>
        <p:spPr>
          <a:xfrm>
            <a:off x="10437812" y="0"/>
            <a:ext cx="685800" cy="1143000"/>
          </a:xfrm>
          <a:prstGeom prst="rect">
            <a:avLst/>
          </a:prstGeom>
          <a:solidFill>
            <a:srgbClr val="F1BB2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D294F56A-AE27-FC46-95E2-8E65323BA07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10352540" y="295729"/>
            <a:ext cx="838199" cy="7676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ctr">
              <a:defRPr sz="2800" b="0" i="0">
                <a:solidFill>
                  <a:schemeClr val="bg1"/>
                </a:solidFill>
              </a:defRPr>
            </a:lvl1pPr>
          </a:lstStyle>
          <a:p>
            <a:fld id="{D57F1E4F-1CFF-5643-939E-217C01CDF565}" type="slidenum">
              <a:rPr lang="en-US" dirty="0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FC1D435-1A3A-A34A-A072-6378ED17CCB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10438991" y="6226146"/>
            <a:ext cx="1369242" cy="4445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110333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4" y="973668"/>
            <a:ext cx="8825659" cy="706964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54954" y="2603502"/>
            <a:ext cx="3141878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rgbClr val="007F6E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half" idx="15"/>
          </p:nvPr>
        </p:nvSpPr>
        <p:spPr>
          <a:xfrm>
            <a:off x="1154953" y="3179764"/>
            <a:ext cx="3141879" cy="2847293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512721" y="2603500"/>
            <a:ext cx="3147009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rgbClr val="007F6E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9" name="Text Placeholder 3"/>
          <p:cNvSpPr>
            <a:spLocks noGrp="1"/>
          </p:cNvSpPr>
          <p:nvPr>
            <p:ph type="body" sz="half" idx="16"/>
          </p:nvPr>
        </p:nvSpPr>
        <p:spPr>
          <a:xfrm>
            <a:off x="4512721" y="3179763"/>
            <a:ext cx="3147009" cy="2847293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7888135" y="2603501"/>
            <a:ext cx="3145730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rgbClr val="007F6E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0" name="Text Placeholder 3"/>
          <p:cNvSpPr>
            <a:spLocks noGrp="1"/>
          </p:cNvSpPr>
          <p:nvPr>
            <p:ph type="body" sz="half" idx="17"/>
          </p:nvPr>
        </p:nvSpPr>
        <p:spPr>
          <a:xfrm>
            <a:off x="7888329" y="3179762"/>
            <a:ext cx="3145536" cy="2847293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cxnSp>
        <p:nvCxnSpPr>
          <p:cNvPr id="17" name="Straight Connector 16"/>
          <p:cNvCxnSpPr/>
          <p:nvPr/>
        </p:nvCxnSpPr>
        <p:spPr>
          <a:xfrm>
            <a:off x="4403971" y="2569633"/>
            <a:ext cx="0" cy="3492499"/>
          </a:xfrm>
          <a:prstGeom prst="line">
            <a:avLst/>
          </a:prstGeom>
          <a:ln w="12700" cmpd="sng">
            <a:solidFill>
              <a:schemeClr val="accent1">
                <a:alpha val="4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>
          <a:xfrm>
            <a:off x="7772401" y="2569633"/>
            <a:ext cx="0" cy="3492499"/>
          </a:xfrm>
          <a:prstGeom prst="line">
            <a:avLst/>
          </a:prstGeom>
          <a:ln w="12700" cmpd="sng">
            <a:solidFill>
              <a:schemeClr val="accent1">
                <a:alpha val="4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36440F-F18E-4556-B5A5-938E3923357B}" type="datetime1">
              <a:rPr lang="en-US" smtClean="0"/>
              <a:t>4/9/2025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Pictur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4" y="973668"/>
            <a:ext cx="8825659" cy="706964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54954" y="4532844"/>
            <a:ext cx="3050438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rgbClr val="007F6E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9" name="Picture Placeholder 2"/>
          <p:cNvSpPr>
            <a:spLocks noGrp="1" noChangeAspect="1"/>
          </p:cNvSpPr>
          <p:nvPr>
            <p:ph type="pic" idx="15"/>
          </p:nvPr>
        </p:nvSpPr>
        <p:spPr>
          <a:xfrm>
            <a:off x="1334553" y="2603500"/>
            <a:ext cx="2691242" cy="1591510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GB"/>
              <a:t>Click icon to add picture</a:t>
            </a:r>
            <a:endParaRPr lang="en-US"/>
          </a:p>
        </p:txBody>
      </p:sp>
      <p:sp>
        <p:nvSpPr>
          <p:cNvPr id="22" name="Text Placeholder 3"/>
          <p:cNvSpPr>
            <a:spLocks noGrp="1"/>
          </p:cNvSpPr>
          <p:nvPr>
            <p:ph type="body" sz="half" idx="18"/>
          </p:nvPr>
        </p:nvSpPr>
        <p:spPr>
          <a:xfrm>
            <a:off x="1154954" y="5109106"/>
            <a:ext cx="3050438" cy="917952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568865" y="4532844"/>
            <a:ext cx="3050438" cy="576263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rgbClr val="007F6E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1" name="Picture Placeholder 2"/>
          <p:cNvSpPr>
            <a:spLocks noGrp="1" noChangeAspect="1"/>
          </p:cNvSpPr>
          <p:nvPr>
            <p:ph type="pic" idx="21"/>
          </p:nvPr>
        </p:nvSpPr>
        <p:spPr>
          <a:xfrm>
            <a:off x="4748462" y="2603500"/>
            <a:ext cx="2691243" cy="1591510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GB"/>
              <a:t>Click icon to add picture</a:t>
            </a:r>
            <a:endParaRPr lang="en-US"/>
          </a:p>
        </p:txBody>
      </p:sp>
      <p:sp>
        <p:nvSpPr>
          <p:cNvPr id="23" name="Text Placeholder 3"/>
          <p:cNvSpPr>
            <a:spLocks noGrp="1"/>
          </p:cNvSpPr>
          <p:nvPr>
            <p:ph type="body" sz="half" idx="19"/>
          </p:nvPr>
        </p:nvSpPr>
        <p:spPr>
          <a:xfrm>
            <a:off x="4570172" y="5109105"/>
            <a:ext cx="3050438" cy="917952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7982775" y="4532845"/>
            <a:ext cx="3051095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rgbClr val="007F6E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2" name="Picture Placeholder 2"/>
          <p:cNvSpPr>
            <a:spLocks noGrp="1" noChangeAspect="1"/>
          </p:cNvSpPr>
          <p:nvPr>
            <p:ph type="pic" idx="22"/>
          </p:nvPr>
        </p:nvSpPr>
        <p:spPr>
          <a:xfrm>
            <a:off x="8163031" y="2603500"/>
            <a:ext cx="2691242" cy="1591510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GB"/>
              <a:t>Click icon to add picture</a:t>
            </a:r>
            <a:endParaRPr lang="en-US"/>
          </a:p>
        </p:txBody>
      </p:sp>
      <p:sp>
        <p:nvSpPr>
          <p:cNvPr id="24" name="Text Placeholder 3"/>
          <p:cNvSpPr>
            <a:spLocks noGrp="1"/>
          </p:cNvSpPr>
          <p:nvPr>
            <p:ph type="body" sz="half" idx="20"/>
          </p:nvPr>
        </p:nvSpPr>
        <p:spPr>
          <a:xfrm>
            <a:off x="7982775" y="5109104"/>
            <a:ext cx="3051096" cy="917952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cxnSp>
        <p:nvCxnSpPr>
          <p:cNvPr id="43" name="Straight Connector 42"/>
          <p:cNvCxnSpPr/>
          <p:nvPr/>
        </p:nvCxnSpPr>
        <p:spPr>
          <a:xfrm>
            <a:off x="4405831" y="2569633"/>
            <a:ext cx="0" cy="3492499"/>
          </a:xfrm>
          <a:prstGeom prst="line">
            <a:avLst/>
          </a:prstGeom>
          <a:ln w="12700" cmpd="sng">
            <a:solidFill>
              <a:schemeClr val="accent1">
                <a:alpha val="4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/>
          <p:cNvCxnSpPr/>
          <p:nvPr/>
        </p:nvCxnSpPr>
        <p:spPr>
          <a:xfrm>
            <a:off x="7797802" y="2569633"/>
            <a:ext cx="0" cy="3492499"/>
          </a:xfrm>
          <a:prstGeom prst="line">
            <a:avLst/>
          </a:prstGeom>
          <a:ln w="12700" cmpd="sng">
            <a:solidFill>
              <a:schemeClr val="accent1">
                <a:alpha val="4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CAC480-7D82-4409-BC1D-D7CDCEAAE263}" type="datetime1">
              <a:rPr lang="en-US" smtClean="0"/>
              <a:t>4/9/2025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561111" y="6391838"/>
            <a:ext cx="3644282" cy="30480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4" y="973668"/>
            <a:ext cx="8825659" cy="706964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154954" y="2603500"/>
            <a:ext cx="8825659" cy="3416300"/>
          </a:xfrm>
        </p:spPr>
        <p:txBody>
          <a:bodyPr vert="eaVert" anchor="t" anchorCtr="0"/>
          <a:lstStyle>
            <a:lvl1pPr>
              <a:buClr>
                <a:srgbClr val="007F6E"/>
              </a:buClr>
              <a:defRPr/>
            </a:lvl1pPr>
            <a:lvl2pPr>
              <a:buClr>
                <a:srgbClr val="007F6E"/>
              </a:buClr>
              <a:defRPr/>
            </a:lvl2pPr>
            <a:lvl3pPr>
              <a:buClr>
                <a:srgbClr val="007F6E"/>
              </a:buClr>
              <a:defRPr/>
            </a:lvl3pPr>
            <a:lvl4pPr>
              <a:buClr>
                <a:srgbClr val="007F6E"/>
              </a:buClr>
              <a:defRPr/>
            </a:lvl4pPr>
            <a:lvl5pPr>
              <a:buClr>
                <a:srgbClr val="007F6E"/>
              </a:buClr>
              <a:defRPr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420905" y="6391838"/>
            <a:ext cx="990599" cy="304799"/>
          </a:xfrm>
        </p:spPr>
        <p:txBody>
          <a:bodyPr/>
          <a:lstStyle/>
          <a:p>
            <a:fld id="{AF3501C7-BACD-4665-BEA0-BA4BF2669A60}" type="datetime1">
              <a:rPr lang="en-US" smtClean="0"/>
              <a:t>4/9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8D686A50-4562-9547-8E70-8CD4C028586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350" y="0"/>
            <a:ext cx="12179300" cy="6858000"/>
          </a:xfrm>
          <a:prstGeom prst="rect">
            <a:avLst/>
          </a:prstGeom>
        </p:spPr>
      </p:pic>
      <p:sp>
        <p:nvSpPr>
          <p:cNvPr id="15" name="Oval 14"/>
          <p:cNvSpPr/>
          <p:nvPr/>
        </p:nvSpPr>
        <p:spPr>
          <a:xfrm>
            <a:off x="0" y="2667000"/>
            <a:ext cx="4191000" cy="4191000"/>
          </a:xfrm>
          <a:prstGeom prst="ellipse">
            <a:avLst/>
          </a:prstGeom>
          <a:gradFill flip="none" rotWithShape="1">
            <a:gsLst>
              <a:gs pos="0">
                <a:schemeClr val="accent5">
                  <a:alpha val="11000"/>
                </a:schemeClr>
              </a:gs>
              <a:gs pos="75000">
                <a:schemeClr val="accent5">
                  <a:alpha val="0"/>
                </a:schemeClr>
              </a:gs>
              <a:gs pos="36000">
                <a:schemeClr val="accent5">
                  <a:alpha val="1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16" name="Oval 15"/>
          <p:cNvSpPr/>
          <p:nvPr/>
        </p:nvSpPr>
        <p:spPr>
          <a:xfrm>
            <a:off x="0" y="2895600"/>
            <a:ext cx="2362200" cy="2362200"/>
          </a:xfrm>
          <a:prstGeom prst="ellipse">
            <a:avLst/>
          </a:prstGeom>
          <a:gradFill flip="none" rotWithShape="1">
            <a:gsLst>
              <a:gs pos="0">
                <a:schemeClr val="accent5">
                  <a:alpha val="8000"/>
                </a:schemeClr>
              </a:gs>
              <a:gs pos="72000">
                <a:schemeClr val="accent5">
                  <a:alpha val="0"/>
                </a:schemeClr>
              </a:gs>
              <a:gs pos="36000">
                <a:schemeClr val="accent5">
                  <a:alpha val="8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18" name="Oval 17"/>
          <p:cNvSpPr/>
          <p:nvPr/>
        </p:nvSpPr>
        <p:spPr>
          <a:xfrm>
            <a:off x="8609012" y="5867400"/>
            <a:ext cx="990600" cy="990600"/>
          </a:xfrm>
          <a:prstGeom prst="ellipse">
            <a:avLst/>
          </a:prstGeom>
          <a:gradFill flip="none" rotWithShape="1">
            <a:gsLst>
              <a:gs pos="0">
                <a:schemeClr val="accent5">
                  <a:alpha val="14000"/>
                </a:schemeClr>
              </a:gs>
              <a:gs pos="66000">
                <a:schemeClr val="accent5">
                  <a:alpha val="0"/>
                </a:schemeClr>
              </a:gs>
              <a:gs pos="36000">
                <a:schemeClr val="accent5">
                  <a:alpha val="7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0" name="Oval 19"/>
          <p:cNvSpPr/>
          <p:nvPr/>
        </p:nvSpPr>
        <p:spPr>
          <a:xfrm>
            <a:off x="7999412" y="8464"/>
            <a:ext cx="1600200" cy="1600200"/>
          </a:xfrm>
          <a:prstGeom prst="ellipse">
            <a:avLst/>
          </a:prstGeom>
          <a:gradFill flip="none" rotWithShape="1">
            <a:gsLst>
              <a:gs pos="0">
                <a:schemeClr val="accent5">
                  <a:alpha val="14000"/>
                </a:schemeClr>
              </a:gs>
              <a:gs pos="73000">
                <a:schemeClr val="accent5">
                  <a:alpha val="0"/>
                </a:schemeClr>
              </a:gs>
              <a:gs pos="36000">
                <a:schemeClr val="accent5">
                  <a:alpha val="7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C1E4B364-E0E5-8041-9E9C-92AA95E17BF2}"/>
              </a:ext>
            </a:extLst>
          </p:cNvPr>
          <p:cNvGrpSpPr/>
          <p:nvPr userDrawn="1"/>
        </p:nvGrpSpPr>
        <p:grpSpPr>
          <a:xfrm>
            <a:off x="462587" y="337375"/>
            <a:ext cx="7702317" cy="6118460"/>
            <a:chOff x="462587" y="337375"/>
            <a:chExt cx="7702317" cy="6118460"/>
          </a:xfrm>
        </p:grpSpPr>
        <p:sp>
          <p:nvSpPr>
            <p:cNvPr id="7" name="Rectangle 6"/>
            <p:cNvSpPr/>
            <p:nvPr userDrawn="1"/>
          </p:nvSpPr>
          <p:spPr bwMode="gray">
            <a:xfrm>
              <a:off x="462587" y="337375"/>
              <a:ext cx="6510866" cy="605367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7" name="Freeform 5"/>
            <p:cNvSpPr/>
            <p:nvPr/>
          </p:nvSpPr>
          <p:spPr bwMode="gray">
            <a:xfrm rot="5101749">
              <a:off x="6294738" y="4577737"/>
              <a:ext cx="3299407" cy="440924"/>
            </a:xfrm>
            <a:custGeom>
              <a:avLst/>
              <a:gdLst/>
              <a:ahLst/>
              <a:cxnLst/>
              <a:rect l="l" t="t" r="r" b="b"/>
              <a:pathLst>
                <a:path w="10000" h="5291">
                  <a:moveTo>
                    <a:pt x="85" y="2532"/>
                  </a:moveTo>
                  <a:cubicBezTo>
                    <a:pt x="1736" y="3911"/>
                    <a:pt x="7524" y="5298"/>
                    <a:pt x="9958" y="5291"/>
                  </a:cubicBezTo>
                  <a:cubicBezTo>
                    <a:pt x="9989" y="1958"/>
                    <a:pt x="9969" y="3333"/>
                    <a:pt x="10000" y="0"/>
                  </a:cubicBezTo>
                  <a:lnTo>
                    <a:pt x="10000" y="0"/>
                  </a:lnTo>
                  <a:lnTo>
                    <a:pt x="9667" y="204"/>
                  </a:lnTo>
                  <a:lnTo>
                    <a:pt x="9334" y="400"/>
                  </a:lnTo>
                  <a:lnTo>
                    <a:pt x="9001" y="590"/>
                  </a:lnTo>
                  <a:lnTo>
                    <a:pt x="8667" y="753"/>
                  </a:lnTo>
                  <a:lnTo>
                    <a:pt x="8333" y="917"/>
                  </a:lnTo>
                  <a:lnTo>
                    <a:pt x="7999" y="1071"/>
                  </a:lnTo>
                  <a:lnTo>
                    <a:pt x="7669" y="1202"/>
                  </a:lnTo>
                  <a:lnTo>
                    <a:pt x="7333" y="1325"/>
                  </a:lnTo>
                  <a:lnTo>
                    <a:pt x="7000" y="1440"/>
                  </a:lnTo>
                  <a:lnTo>
                    <a:pt x="6673" y="1538"/>
                  </a:lnTo>
                  <a:lnTo>
                    <a:pt x="6340" y="1636"/>
                  </a:lnTo>
                  <a:lnTo>
                    <a:pt x="6013" y="1719"/>
                  </a:lnTo>
                  <a:lnTo>
                    <a:pt x="5686" y="1784"/>
                  </a:lnTo>
                  <a:lnTo>
                    <a:pt x="5359" y="1850"/>
                  </a:lnTo>
                  <a:lnTo>
                    <a:pt x="5036" y="1906"/>
                  </a:lnTo>
                  <a:lnTo>
                    <a:pt x="4717" y="1948"/>
                  </a:lnTo>
                  <a:lnTo>
                    <a:pt x="4396" y="1980"/>
                  </a:lnTo>
                  <a:lnTo>
                    <a:pt x="4079" y="2013"/>
                  </a:lnTo>
                  <a:lnTo>
                    <a:pt x="3766" y="2029"/>
                  </a:lnTo>
                  <a:lnTo>
                    <a:pt x="3454" y="2046"/>
                  </a:lnTo>
                  <a:lnTo>
                    <a:pt x="3145" y="2053"/>
                  </a:lnTo>
                  <a:lnTo>
                    <a:pt x="2839" y="2046"/>
                  </a:lnTo>
                  <a:lnTo>
                    <a:pt x="2537" y="2046"/>
                  </a:lnTo>
                  <a:lnTo>
                    <a:pt x="2238" y="2029"/>
                  </a:lnTo>
                  <a:lnTo>
                    <a:pt x="1943" y="2004"/>
                  </a:lnTo>
                  <a:lnTo>
                    <a:pt x="1653" y="1980"/>
                  </a:lnTo>
                  <a:lnTo>
                    <a:pt x="1368" y="1955"/>
                  </a:lnTo>
                  <a:lnTo>
                    <a:pt x="1085" y="1915"/>
                  </a:lnTo>
                  <a:lnTo>
                    <a:pt x="806" y="1873"/>
                  </a:lnTo>
                  <a:lnTo>
                    <a:pt x="533" y="1833"/>
                  </a:lnTo>
                  <a:lnTo>
                    <a:pt x="0" y="1726"/>
                  </a:lnTo>
                  <a:cubicBezTo>
                    <a:pt x="28" y="1995"/>
                    <a:pt x="57" y="2263"/>
                    <a:pt x="85" y="2532"/>
                  </a:cubicBez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</p:sp>
        <p:sp>
          <p:nvSpPr>
            <p:cNvPr id="10" name="Freeform 5"/>
            <p:cNvSpPr/>
            <p:nvPr/>
          </p:nvSpPr>
          <p:spPr bwMode="gray">
            <a:xfrm rot="5400000">
              <a:off x="4449232" y="2801721"/>
              <a:ext cx="6053670" cy="1254558"/>
            </a:xfrm>
            <a:custGeom>
              <a:avLst/>
              <a:gdLst/>
              <a:ahLst/>
              <a:cxnLst/>
              <a:rect l="l" t="t" r="r" b="b"/>
              <a:pathLst>
                <a:path w="10000" h="8000">
                  <a:moveTo>
                    <a:pt x="0" y="0"/>
                  </a:moveTo>
                  <a:lnTo>
                    <a:pt x="0" y="7970"/>
                  </a:lnTo>
                  <a:lnTo>
                    <a:pt x="10000" y="8000"/>
                  </a:lnTo>
                  <a:lnTo>
                    <a:pt x="10000" y="7"/>
                  </a:lnTo>
                  <a:lnTo>
                    <a:pt x="10000" y="7"/>
                  </a:lnTo>
                  <a:lnTo>
                    <a:pt x="9773" y="156"/>
                  </a:lnTo>
                  <a:lnTo>
                    <a:pt x="9547" y="298"/>
                  </a:lnTo>
                  <a:lnTo>
                    <a:pt x="9320" y="437"/>
                  </a:lnTo>
                  <a:lnTo>
                    <a:pt x="9092" y="556"/>
                  </a:lnTo>
                  <a:lnTo>
                    <a:pt x="8865" y="676"/>
                  </a:lnTo>
                  <a:lnTo>
                    <a:pt x="8637" y="788"/>
                  </a:lnTo>
                  <a:lnTo>
                    <a:pt x="8412" y="884"/>
                  </a:lnTo>
                  <a:lnTo>
                    <a:pt x="8184" y="975"/>
                  </a:lnTo>
                  <a:lnTo>
                    <a:pt x="7957" y="1058"/>
                  </a:lnTo>
                  <a:lnTo>
                    <a:pt x="7734" y="1130"/>
                  </a:lnTo>
                  <a:lnTo>
                    <a:pt x="7508" y="1202"/>
                  </a:lnTo>
                  <a:lnTo>
                    <a:pt x="7285" y="1262"/>
                  </a:lnTo>
                  <a:lnTo>
                    <a:pt x="7062" y="1309"/>
                  </a:lnTo>
                  <a:lnTo>
                    <a:pt x="6840" y="1358"/>
                  </a:lnTo>
                  <a:lnTo>
                    <a:pt x="6620" y="1399"/>
                  </a:lnTo>
                  <a:lnTo>
                    <a:pt x="6402" y="1428"/>
                  </a:lnTo>
                  <a:lnTo>
                    <a:pt x="6184" y="1453"/>
                  </a:lnTo>
                  <a:lnTo>
                    <a:pt x="5968" y="1477"/>
                  </a:lnTo>
                  <a:lnTo>
                    <a:pt x="5755" y="1488"/>
                  </a:lnTo>
                  <a:lnTo>
                    <a:pt x="5542" y="1500"/>
                  </a:lnTo>
                  <a:lnTo>
                    <a:pt x="5332" y="1506"/>
                  </a:lnTo>
                  <a:lnTo>
                    <a:pt x="5124" y="1500"/>
                  </a:lnTo>
                  <a:lnTo>
                    <a:pt x="4918" y="1500"/>
                  </a:lnTo>
                  <a:lnTo>
                    <a:pt x="4714" y="1488"/>
                  </a:lnTo>
                  <a:lnTo>
                    <a:pt x="4514" y="1470"/>
                  </a:lnTo>
                  <a:lnTo>
                    <a:pt x="4316" y="1453"/>
                  </a:lnTo>
                  <a:lnTo>
                    <a:pt x="4122" y="1434"/>
                  </a:lnTo>
                  <a:lnTo>
                    <a:pt x="3929" y="1405"/>
                  </a:lnTo>
                  <a:lnTo>
                    <a:pt x="3739" y="1374"/>
                  </a:lnTo>
                  <a:lnTo>
                    <a:pt x="3553" y="1346"/>
                  </a:lnTo>
                  <a:lnTo>
                    <a:pt x="3190" y="1267"/>
                  </a:lnTo>
                  <a:lnTo>
                    <a:pt x="2842" y="1183"/>
                  </a:lnTo>
                  <a:lnTo>
                    <a:pt x="2508" y="1095"/>
                  </a:lnTo>
                  <a:lnTo>
                    <a:pt x="2192" y="998"/>
                  </a:lnTo>
                  <a:lnTo>
                    <a:pt x="1890" y="897"/>
                  </a:lnTo>
                  <a:lnTo>
                    <a:pt x="1610" y="788"/>
                  </a:lnTo>
                  <a:lnTo>
                    <a:pt x="1347" y="681"/>
                  </a:lnTo>
                  <a:lnTo>
                    <a:pt x="1105" y="574"/>
                  </a:lnTo>
                  <a:lnTo>
                    <a:pt x="883" y="473"/>
                  </a:lnTo>
                  <a:lnTo>
                    <a:pt x="686" y="377"/>
                  </a:lnTo>
                  <a:lnTo>
                    <a:pt x="508" y="286"/>
                  </a:lnTo>
                  <a:lnTo>
                    <a:pt x="358" y="210"/>
                  </a:lnTo>
                  <a:lnTo>
                    <a:pt x="232" y="138"/>
                  </a:lnTo>
                  <a:lnTo>
                    <a:pt x="59" y="35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</p:grpSp>
      <p:sp>
        <p:nvSpPr>
          <p:cNvPr id="13" name="Freeform 5"/>
          <p:cNvSpPr>
            <a:spLocks noEditPoints="1"/>
          </p:cNvSpPr>
          <p:nvPr userDrawn="1"/>
        </p:nvSpPr>
        <p:spPr bwMode="gray">
          <a:xfrm>
            <a:off x="0" y="1587"/>
            <a:ext cx="12192000" cy="6856413"/>
          </a:xfrm>
          <a:custGeom>
            <a:avLst/>
            <a:gdLst/>
            <a:ahLst/>
            <a:cxnLst/>
            <a:rect l="0" t="0" r="r" b="b"/>
            <a:pathLst>
              <a:path w="15356" h="8638">
                <a:moveTo>
                  <a:pt x="0" y="0"/>
                </a:moveTo>
                <a:lnTo>
                  <a:pt x="0" y="8638"/>
                </a:lnTo>
                <a:lnTo>
                  <a:pt x="15356" y="8638"/>
                </a:lnTo>
                <a:lnTo>
                  <a:pt x="15356" y="0"/>
                </a:lnTo>
                <a:lnTo>
                  <a:pt x="0" y="0"/>
                </a:lnTo>
                <a:close/>
                <a:moveTo>
                  <a:pt x="14748" y="8038"/>
                </a:moveTo>
                <a:lnTo>
                  <a:pt x="600" y="8038"/>
                </a:lnTo>
                <a:lnTo>
                  <a:pt x="600" y="592"/>
                </a:lnTo>
                <a:lnTo>
                  <a:pt x="14748" y="592"/>
                </a:lnTo>
                <a:lnTo>
                  <a:pt x="14748" y="803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</p:sp>
      <p:sp>
        <p:nvSpPr>
          <p:cNvPr id="2" name="Vertical Title 1"/>
          <p:cNvSpPr>
            <a:spLocks noGrp="1"/>
          </p:cNvSpPr>
          <p:nvPr userDrawn="1">
            <p:ph type="title" orient="vert"/>
          </p:nvPr>
        </p:nvSpPr>
        <p:spPr>
          <a:xfrm>
            <a:off x="8585235" y="1278467"/>
            <a:ext cx="1409965" cy="4748590"/>
          </a:xfrm>
        </p:spPr>
        <p:txBody>
          <a:bodyPr vert="eaVert" anchor="b" anchorCtr="0"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 userDrawn="1">
            <p:ph type="body" orient="vert" idx="1"/>
          </p:nvPr>
        </p:nvSpPr>
        <p:spPr>
          <a:xfrm>
            <a:off x="1154954" y="1278467"/>
            <a:ext cx="6256025" cy="4748590"/>
          </a:xfrm>
        </p:spPr>
        <p:txBody>
          <a:bodyPr vert="eaVert"/>
          <a:lstStyle>
            <a:lvl1pPr>
              <a:buClr>
                <a:srgbClr val="007F6E"/>
              </a:buClr>
              <a:defRPr/>
            </a:lvl1pPr>
            <a:lvl2pPr>
              <a:buClr>
                <a:srgbClr val="007F6E"/>
              </a:buClr>
              <a:defRPr/>
            </a:lvl2pPr>
            <a:lvl3pPr>
              <a:buClr>
                <a:srgbClr val="007F6E"/>
              </a:buClr>
              <a:defRPr/>
            </a:lvl3pPr>
            <a:lvl4pPr>
              <a:buClr>
                <a:srgbClr val="007F6E"/>
              </a:buClr>
              <a:defRPr/>
            </a:lvl4pPr>
            <a:lvl5pPr>
              <a:buClr>
                <a:srgbClr val="007F6E"/>
              </a:buClr>
              <a:defRPr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 userDrawn="1">
            <p:ph type="dt" sz="half" idx="10"/>
          </p:nvPr>
        </p:nvSpPr>
        <p:spPr>
          <a:xfrm>
            <a:off x="10653104" y="6391838"/>
            <a:ext cx="992135" cy="304799"/>
          </a:xfrm>
        </p:spPr>
        <p:txBody>
          <a:bodyPr/>
          <a:lstStyle/>
          <a:p>
            <a:fld id="{DE3E40DC-79D8-4193-9727-EF5D1076EF21}" type="datetime1">
              <a:rPr lang="en-US" smtClean="0"/>
              <a:t>4/9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BFB41007-5F87-B943-BF02-8B80449889A4}"/>
              </a:ext>
            </a:extLst>
          </p:cNvPr>
          <p:cNvSpPr/>
          <p:nvPr userDrawn="1"/>
        </p:nvSpPr>
        <p:spPr>
          <a:xfrm>
            <a:off x="10437812" y="0"/>
            <a:ext cx="685800" cy="1143000"/>
          </a:xfrm>
          <a:prstGeom prst="rect">
            <a:avLst/>
          </a:prstGeom>
          <a:solidFill>
            <a:srgbClr val="F1BB2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3" name="Slide Number Placeholder 5">
            <a:extLst>
              <a:ext uri="{FF2B5EF4-FFF2-40B4-BE49-F238E27FC236}">
                <a16:creationId xmlns:a16="http://schemas.microsoft.com/office/drawing/2014/main" id="{39DA27D9-8AF8-C643-9919-D5469094826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10352540" y="295729"/>
            <a:ext cx="838199" cy="7676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ctr">
              <a:defRPr sz="2800" b="0" i="0">
                <a:solidFill>
                  <a:schemeClr val="bg1"/>
                </a:solidFill>
              </a:defRPr>
            </a:lvl1pPr>
          </a:lstStyle>
          <a:p>
            <a:fld id="{D57F1E4F-1CFF-5643-939E-217C01CDF565}" type="slidenum">
              <a:rPr lang="en-US" dirty="0"/>
              <a:pPr/>
              <a:t>‹#›</a:t>
            </a:fld>
            <a:endParaRPr lang="en-US"/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E42CC817-B018-C844-B0FC-05245F3F5A3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532268" y="159768"/>
            <a:ext cx="1369242" cy="444559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1_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8D686A50-4562-9547-8E70-8CD4C028586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6350" y="0"/>
            <a:ext cx="12179300" cy="6858000"/>
          </a:xfrm>
          <a:prstGeom prst="rect">
            <a:avLst/>
          </a:prstGeom>
        </p:spPr>
      </p:pic>
      <p:sp>
        <p:nvSpPr>
          <p:cNvPr id="15" name="Oval 14"/>
          <p:cNvSpPr/>
          <p:nvPr/>
        </p:nvSpPr>
        <p:spPr>
          <a:xfrm>
            <a:off x="0" y="2667000"/>
            <a:ext cx="4191000" cy="4191000"/>
          </a:xfrm>
          <a:prstGeom prst="ellipse">
            <a:avLst/>
          </a:prstGeom>
          <a:gradFill flip="none" rotWithShape="1">
            <a:gsLst>
              <a:gs pos="0">
                <a:schemeClr val="accent5">
                  <a:alpha val="11000"/>
                </a:schemeClr>
              </a:gs>
              <a:gs pos="75000">
                <a:schemeClr val="accent5">
                  <a:alpha val="0"/>
                </a:schemeClr>
              </a:gs>
              <a:gs pos="36000">
                <a:schemeClr val="accent5">
                  <a:alpha val="1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16" name="Oval 15"/>
          <p:cNvSpPr/>
          <p:nvPr/>
        </p:nvSpPr>
        <p:spPr>
          <a:xfrm>
            <a:off x="0" y="2895600"/>
            <a:ext cx="2362200" cy="2362200"/>
          </a:xfrm>
          <a:prstGeom prst="ellipse">
            <a:avLst/>
          </a:prstGeom>
          <a:gradFill flip="none" rotWithShape="1">
            <a:gsLst>
              <a:gs pos="0">
                <a:schemeClr val="accent5">
                  <a:alpha val="8000"/>
                </a:schemeClr>
              </a:gs>
              <a:gs pos="72000">
                <a:schemeClr val="accent5">
                  <a:alpha val="0"/>
                </a:schemeClr>
              </a:gs>
              <a:gs pos="36000">
                <a:schemeClr val="accent5">
                  <a:alpha val="8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18" name="Oval 17"/>
          <p:cNvSpPr/>
          <p:nvPr/>
        </p:nvSpPr>
        <p:spPr>
          <a:xfrm>
            <a:off x="8609012" y="5867400"/>
            <a:ext cx="990600" cy="990600"/>
          </a:xfrm>
          <a:prstGeom prst="ellipse">
            <a:avLst/>
          </a:prstGeom>
          <a:gradFill flip="none" rotWithShape="1">
            <a:gsLst>
              <a:gs pos="0">
                <a:schemeClr val="accent5">
                  <a:alpha val="14000"/>
                </a:schemeClr>
              </a:gs>
              <a:gs pos="66000">
                <a:schemeClr val="accent5">
                  <a:alpha val="0"/>
                </a:schemeClr>
              </a:gs>
              <a:gs pos="36000">
                <a:schemeClr val="accent5">
                  <a:alpha val="7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0" name="Oval 19"/>
          <p:cNvSpPr/>
          <p:nvPr/>
        </p:nvSpPr>
        <p:spPr>
          <a:xfrm>
            <a:off x="7999412" y="8464"/>
            <a:ext cx="1600200" cy="1600200"/>
          </a:xfrm>
          <a:prstGeom prst="ellipse">
            <a:avLst/>
          </a:prstGeom>
          <a:gradFill flip="none" rotWithShape="1">
            <a:gsLst>
              <a:gs pos="0">
                <a:schemeClr val="accent5">
                  <a:alpha val="14000"/>
                </a:schemeClr>
              </a:gs>
              <a:gs pos="73000">
                <a:schemeClr val="accent5">
                  <a:alpha val="0"/>
                </a:schemeClr>
              </a:gs>
              <a:gs pos="36000">
                <a:schemeClr val="accent5">
                  <a:alpha val="7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C1E4B364-E0E5-8041-9E9C-92AA95E17BF2}"/>
              </a:ext>
            </a:extLst>
          </p:cNvPr>
          <p:cNvGrpSpPr/>
          <p:nvPr userDrawn="1"/>
        </p:nvGrpSpPr>
        <p:grpSpPr>
          <a:xfrm>
            <a:off x="462587" y="337375"/>
            <a:ext cx="7702317" cy="6118460"/>
            <a:chOff x="462587" y="337375"/>
            <a:chExt cx="7702317" cy="6118460"/>
          </a:xfrm>
        </p:grpSpPr>
        <p:sp>
          <p:nvSpPr>
            <p:cNvPr id="7" name="Rectangle 6"/>
            <p:cNvSpPr/>
            <p:nvPr userDrawn="1"/>
          </p:nvSpPr>
          <p:spPr bwMode="gray">
            <a:xfrm>
              <a:off x="462587" y="337375"/>
              <a:ext cx="6510866" cy="605367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7" name="Freeform 5"/>
            <p:cNvSpPr/>
            <p:nvPr/>
          </p:nvSpPr>
          <p:spPr bwMode="gray">
            <a:xfrm rot="5101749">
              <a:off x="6294738" y="4577737"/>
              <a:ext cx="3299407" cy="440924"/>
            </a:xfrm>
            <a:custGeom>
              <a:avLst/>
              <a:gdLst/>
              <a:ahLst/>
              <a:cxnLst/>
              <a:rect l="l" t="t" r="r" b="b"/>
              <a:pathLst>
                <a:path w="10000" h="5291">
                  <a:moveTo>
                    <a:pt x="85" y="2532"/>
                  </a:moveTo>
                  <a:cubicBezTo>
                    <a:pt x="1736" y="3911"/>
                    <a:pt x="7524" y="5298"/>
                    <a:pt x="9958" y="5291"/>
                  </a:cubicBezTo>
                  <a:cubicBezTo>
                    <a:pt x="9989" y="1958"/>
                    <a:pt x="9969" y="3333"/>
                    <a:pt x="10000" y="0"/>
                  </a:cubicBezTo>
                  <a:lnTo>
                    <a:pt x="10000" y="0"/>
                  </a:lnTo>
                  <a:lnTo>
                    <a:pt x="9667" y="204"/>
                  </a:lnTo>
                  <a:lnTo>
                    <a:pt x="9334" y="400"/>
                  </a:lnTo>
                  <a:lnTo>
                    <a:pt x="9001" y="590"/>
                  </a:lnTo>
                  <a:lnTo>
                    <a:pt x="8667" y="753"/>
                  </a:lnTo>
                  <a:lnTo>
                    <a:pt x="8333" y="917"/>
                  </a:lnTo>
                  <a:lnTo>
                    <a:pt x="7999" y="1071"/>
                  </a:lnTo>
                  <a:lnTo>
                    <a:pt x="7669" y="1202"/>
                  </a:lnTo>
                  <a:lnTo>
                    <a:pt x="7333" y="1325"/>
                  </a:lnTo>
                  <a:lnTo>
                    <a:pt x="7000" y="1440"/>
                  </a:lnTo>
                  <a:lnTo>
                    <a:pt x="6673" y="1538"/>
                  </a:lnTo>
                  <a:lnTo>
                    <a:pt x="6340" y="1636"/>
                  </a:lnTo>
                  <a:lnTo>
                    <a:pt x="6013" y="1719"/>
                  </a:lnTo>
                  <a:lnTo>
                    <a:pt x="5686" y="1784"/>
                  </a:lnTo>
                  <a:lnTo>
                    <a:pt x="5359" y="1850"/>
                  </a:lnTo>
                  <a:lnTo>
                    <a:pt x="5036" y="1906"/>
                  </a:lnTo>
                  <a:lnTo>
                    <a:pt x="4717" y="1948"/>
                  </a:lnTo>
                  <a:lnTo>
                    <a:pt x="4396" y="1980"/>
                  </a:lnTo>
                  <a:lnTo>
                    <a:pt x="4079" y="2013"/>
                  </a:lnTo>
                  <a:lnTo>
                    <a:pt x="3766" y="2029"/>
                  </a:lnTo>
                  <a:lnTo>
                    <a:pt x="3454" y="2046"/>
                  </a:lnTo>
                  <a:lnTo>
                    <a:pt x="3145" y="2053"/>
                  </a:lnTo>
                  <a:lnTo>
                    <a:pt x="2839" y="2046"/>
                  </a:lnTo>
                  <a:lnTo>
                    <a:pt x="2537" y="2046"/>
                  </a:lnTo>
                  <a:lnTo>
                    <a:pt x="2238" y="2029"/>
                  </a:lnTo>
                  <a:lnTo>
                    <a:pt x="1943" y="2004"/>
                  </a:lnTo>
                  <a:lnTo>
                    <a:pt x="1653" y="1980"/>
                  </a:lnTo>
                  <a:lnTo>
                    <a:pt x="1368" y="1955"/>
                  </a:lnTo>
                  <a:lnTo>
                    <a:pt x="1085" y="1915"/>
                  </a:lnTo>
                  <a:lnTo>
                    <a:pt x="806" y="1873"/>
                  </a:lnTo>
                  <a:lnTo>
                    <a:pt x="533" y="1833"/>
                  </a:lnTo>
                  <a:lnTo>
                    <a:pt x="0" y="1726"/>
                  </a:lnTo>
                  <a:cubicBezTo>
                    <a:pt x="28" y="1995"/>
                    <a:pt x="57" y="2263"/>
                    <a:pt x="85" y="2532"/>
                  </a:cubicBez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</p:sp>
        <p:sp>
          <p:nvSpPr>
            <p:cNvPr id="10" name="Freeform 5"/>
            <p:cNvSpPr/>
            <p:nvPr/>
          </p:nvSpPr>
          <p:spPr bwMode="gray">
            <a:xfrm rot="5400000">
              <a:off x="4449232" y="2801721"/>
              <a:ext cx="6053670" cy="1254558"/>
            </a:xfrm>
            <a:custGeom>
              <a:avLst/>
              <a:gdLst/>
              <a:ahLst/>
              <a:cxnLst/>
              <a:rect l="l" t="t" r="r" b="b"/>
              <a:pathLst>
                <a:path w="10000" h="8000">
                  <a:moveTo>
                    <a:pt x="0" y="0"/>
                  </a:moveTo>
                  <a:lnTo>
                    <a:pt x="0" y="7970"/>
                  </a:lnTo>
                  <a:lnTo>
                    <a:pt x="10000" y="8000"/>
                  </a:lnTo>
                  <a:lnTo>
                    <a:pt x="10000" y="7"/>
                  </a:lnTo>
                  <a:lnTo>
                    <a:pt x="10000" y="7"/>
                  </a:lnTo>
                  <a:lnTo>
                    <a:pt x="9773" y="156"/>
                  </a:lnTo>
                  <a:lnTo>
                    <a:pt x="9547" y="298"/>
                  </a:lnTo>
                  <a:lnTo>
                    <a:pt x="9320" y="437"/>
                  </a:lnTo>
                  <a:lnTo>
                    <a:pt x="9092" y="556"/>
                  </a:lnTo>
                  <a:lnTo>
                    <a:pt x="8865" y="676"/>
                  </a:lnTo>
                  <a:lnTo>
                    <a:pt x="8637" y="788"/>
                  </a:lnTo>
                  <a:lnTo>
                    <a:pt x="8412" y="884"/>
                  </a:lnTo>
                  <a:lnTo>
                    <a:pt x="8184" y="975"/>
                  </a:lnTo>
                  <a:lnTo>
                    <a:pt x="7957" y="1058"/>
                  </a:lnTo>
                  <a:lnTo>
                    <a:pt x="7734" y="1130"/>
                  </a:lnTo>
                  <a:lnTo>
                    <a:pt x="7508" y="1202"/>
                  </a:lnTo>
                  <a:lnTo>
                    <a:pt x="7285" y="1262"/>
                  </a:lnTo>
                  <a:lnTo>
                    <a:pt x="7062" y="1309"/>
                  </a:lnTo>
                  <a:lnTo>
                    <a:pt x="6840" y="1358"/>
                  </a:lnTo>
                  <a:lnTo>
                    <a:pt x="6620" y="1399"/>
                  </a:lnTo>
                  <a:lnTo>
                    <a:pt x="6402" y="1428"/>
                  </a:lnTo>
                  <a:lnTo>
                    <a:pt x="6184" y="1453"/>
                  </a:lnTo>
                  <a:lnTo>
                    <a:pt x="5968" y="1477"/>
                  </a:lnTo>
                  <a:lnTo>
                    <a:pt x="5755" y="1488"/>
                  </a:lnTo>
                  <a:lnTo>
                    <a:pt x="5542" y="1500"/>
                  </a:lnTo>
                  <a:lnTo>
                    <a:pt x="5332" y="1506"/>
                  </a:lnTo>
                  <a:lnTo>
                    <a:pt x="5124" y="1500"/>
                  </a:lnTo>
                  <a:lnTo>
                    <a:pt x="4918" y="1500"/>
                  </a:lnTo>
                  <a:lnTo>
                    <a:pt x="4714" y="1488"/>
                  </a:lnTo>
                  <a:lnTo>
                    <a:pt x="4514" y="1470"/>
                  </a:lnTo>
                  <a:lnTo>
                    <a:pt x="4316" y="1453"/>
                  </a:lnTo>
                  <a:lnTo>
                    <a:pt x="4122" y="1434"/>
                  </a:lnTo>
                  <a:lnTo>
                    <a:pt x="3929" y="1405"/>
                  </a:lnTo>
                  <a:lnTo>
                    <a:pt x="3739" y="1374"/>
                  </a:lnTo>
                  <a:lnTo>
                    <a:pt x="3553" y="1346"/>
                  </a:lnTo>
                  <a:lnTo>
                    <a:pt x="3190" y="1267"/>
                  </a:lnTo>
                  <a:lnTo>
                    <a:pt x="2842" y="1183"/>
                  </a:lnTo>
                  <a:lnTo>
                    <a:pt x="2508" y="1095"/>
                  </a:lnTo>
                  <a:lnTo>
                    <a:pt x="2192" y="998"/>
                  </a:lnTo>
                  <a:lnTo>
                    <a:pt x="1890" y="897"/>
                  </a:lnTo>
                  <a:lnTo>
                    <a:pt x="1610" y="788"/>
                  </a:lnTo>
                  <a:lnTo>
                    <a:pt x="1347" y="681"/>
                  </a:lnTo>
                  <a:lnTo>
                    <a:pt x="1105" y="574"/>
                  </a:lnTo>
                  <a:lnTo>
                    <a:pt x="883" y="473"/>
                  </a:lnTo>
                  <a:lnTo>
                    <a:pt x="686" y="377"/>
                  </a:lnTo>
                  <a:lnTo>
                    <a:pt x="508" y="286"/>
                  </a:lnTo>
                  <a:lnTo>
                    <a:pt x="358" y="210"/>
                  </a:lnTo>
                  <a:lnTo>
                    <a:pt x="232" y="138"/>
                  </a:lnTo>
                  <a:lnTo>
                    <a:pt x="59" y="35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</p:grpSp>
      <p:sp>
        <p:nvSpPr>
          <p:cNvPr id="13" name="Freeform 5"/>
          <p:cNvSpPr>
            <a:spLocks noEditPoints="1"/>
          </p:cNvSpPr>
          <p:nvPr userDrawn="1"/>
        </p:nvSpPr>
        <p:spPr bwMode="gray">
          <a:xfrm>
            <a:off x="0" y="1587"/>
            <a:ext cx="12192000" cy="6856413"/>
          </a:xfrm>
          <a:custGeom>
            <a:avLst/>
            <a:gdLst/>
            <a:ahLst/>
            <a:cxnLst/>
            <a:rect l="0" t="0" r="r" b="b"/>
            <a:pathLst>
              <a:path w="15356" h="8638">
                <a:moveTo>
                  <a:pt x="0" y="0"/>
                </a:moveTo>
                <a:lnTo>
                  <a:pt x="0" y="8638"/>
                </a:lnTo>
                <a:lnTo>
                  <a:pt x="15356" y="8638"/>
                </a:lnTo>
                <a:lnTo>
                  <a:pt x="15356" y="0"/>
                </a:lnTo>
                <a:lnTo>
                  <a:pt x="0" y="0"/>
                </a:lnTo>
                <a:close/>
                <a:moveTo>
                  <a:pt x="14748" y="8038"/>
                </a:moveTo>
                <a:lnTo>
                  <a:pt x="600" y="8038"/>
                </a:lnTo>
                <a:lnTo>
                  <a:pt x="600" y="592"/>
                </a:lnTo>
                <a:lnTo>
                  <a:pt x="14748" y="592"/>
                </a:lnTo>
                <a:lnTo>
                  <a:pt x="14748" y="803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</p:sp>
      <p:sp>
        <p:nvSpPr>
          <p:cNvPr id="2" name="Vertical Title 1"/>
          <p:cNvSpPr>
            <a:spLocks noGrp="1"/>
          </p:cNvSpPr>
          <p:nvPr userDrawn="1">
            <p:ph type="title" orient="vert"/>
          </p:nvPr>
        </p:nvSpPr>
        <p:spPr>
          <a:xfrm>
            <a:off x="8585235" y="1278467"/>
            <a:ext cx="1409965" cy="4748590"/>
          </a:xfrm>
        </p:spPr>
        <p:txBody>
          <a:bodyPr vert="eaVert" anchor="b" anchorCtr="0"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 userDrawn="1">
            <p:ph type="body" orient="vert" idx="1"/>
          </p:nvPr>
        </p:nvSpPr>
        <p:spPr>
          <a:xfrm>
            <a:off x="1154954" y="1278467"/>
            <a:ext cx="6256025" cy="4748590"/>
          </a:xfrm>
        </p:spPr>
        <p:txBody>
          <a:bodyPr vert="eaVert"/>
          <a:lstStyle>
            <a:lvl1pPr>
              <a:buClr>
                <a:srgbClr val="007F6E"/>
              </a:buClr>
              <a:defRPr/>
            </a:lvl1pPr>
            <a:lvl2pPr>
              <a:buClr>
                <a:srgbClr val="007F6E"/>
              </a:buClr>
              <a:defRPr/>
            </a:lvl2pPr>
            <a:lvl3pPr>
              <a:buClr>
                <a:srgbClr val="007F6E"/>
              </a:buClr>
              <a:defRPr/>
            </a:lvl3pPr>
            <a:lvl4pPr>
              <a:buClr>
                <a:srgbClr val="007F6E"/>
              </a:buClr>
              <a:defRPr/>
            </a:lvl4pPr>
            <a:lvl5pPr>
              <a:buClr>
                <a:srgbClr val="007F6E"/>
              </a:buClr>
              <a:defRPr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 userDrawn="1">
            <p:ph type="dt" sz="half" idx="10"/>
          </p:nvPr>
        </p:nvSpPr>
        <p:spPr>
          <a:xfrm>
            <a:off x="10653104" y="6391838"/>
            <a:ext cx="992135" cy="304799"/>
          </a:xfrm>
        </p:spPr>
        <p:txBody>
          <a:bodyPr/>
          <a:lstStyle/>
          <a:p>
            <a:fld id="{70B01482-D67E-496A-9036-2E3AC30B4D1E}" type="datetime1">
              <a:rPr lang="en-US" smtClean="0"/>
              <a:t>4/9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9F9316A8-DBB4-C142-BFF5-03010636FC78}"/>
              </a:ext>
            </a:extLst>
          </p:cNvPr>
          <p:cNvSpPr/>
          <p:nvPr userDrawn="1"/>
        </p:nvSpPr>
        <p:spPr>
          <a:xfrm>
            <a:off x="10437812" y="0"/>
            <a:ext cx="685800" cy="1143000"/>
          </a:xfrm>
          <a:prstGeom prst="rect">
            <a:avLst/>
          </a:prstGeom>
          <a:solidFill>
            <a:srgbClr val="F1BB2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3" name="Slide Number Placeholder 5">
            <a:extLst>
              <a:ext uri="{FF2B5EF4-FFF2-40B4-BE49-F238E27FC236}">
                <a16:creationId xmlns:a16="http://schemas.microsoft.com/office/drawing/2014/main" id="{23B8ECCD-C2FC-F640-ADF5-A9FBE03DB29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10352540" y="295729"/>
            <a:ext cx="838199" cy="7676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ctr">
              <a:defRPr sz="2800" b="0" i="0">
                <a:solidFill>
                  <a:schemeClr val="bg1"/>
                </a:solidFill>
              </a:defRPr>
            </a:lvl1pPr>
          </a:lstStyle>
          <a:p>
            <a:fld id="{D57F1E4F-1CFF-5643-939E-217C01CDF565}" type="slidenum">
              <a:rPr lang="en-US" dirty="0"/>
              <a:pPr/>
              <a:t>‹#›</a:t>
            </a:fld>
            <a:endParaRPr lang="en-US"/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B49DAA47-97C5-A84A-9A53-0B94360DA68F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532268" y="159768"/>
            <a:ext cx="1369242" cy="4445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356390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154954" y="2603500"/>
            <a:ext cx="8825659" cy="3416300"/>
          </a:xfrm>
        </p:spPr>
        <p:txBody>
          <a:bodyPr/>
          <a:lstStyle>
            <a:lvl1pPr>
              <a:buClr>
                <a:srgbClr val="007F6E"/>
              </a:buClr>
              <a:defRPr/>
            </a:lvl1pPr>
            <a:lvl2pPr>
              <a:buClr>
                <a:srgbClr val="007F6E"/>
              </a:buClr>
              <a:defRPr/>
            </a:lvl2pPr>
            <a:lvl3pPr>
              <a:buClr>
                <a:srgbClr val="007F6E"/>
              </a:buClr>
              <a:defRPr/>
            </a:lvl3pPr>
            <a:lvl4pPr>
              <a:buClr>
                <a:srgbClr val="007F6E"/>
              </a:buClr>
              <a:defRPr/>
            </a:lvl4pPr>
            <a:lvl5pPr>
              <a:buClr>
                <a:srgbClr val="007F6E"/>
              </a:buClr>
              <a:defRPr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150DF14-0D09-4C61-81A8-8F2E3ED2CB2B}" type="datetime1">
              <a:rPr lang="en-US" smtClean="0"/>
              <a:t>4/9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close up of a logo&#10;&#10;Description automatically generated">
            <a:extLst>
              <a:ext uri="{FF2B5EF4-FFF2-40B4-BE49-F238E27FC236}">
                <a16:creationId xmlns:a16="http://schemas.microsoft.com/office/drawing/2014/main" id="{86642CF0-000E-C444-8E41-262B85E40F9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95729"/>
            <a:ext cx="121793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4" y="2677645"/>
            <a:ext cx="4351025" cy="2283824"/>
          </a:xfrm>
        </p:spPr>
        <p:txBody>
          <a:bodyPr anchor="ctr"/>
          <a:lstStyle>
            <a:lvl1pPr algn="l">
              <a:defRPr sz="4000" b="0" cap="none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95559" y="2677644"/>
            <a:ext cx="3757545" cy="2283824"/>
          </a:xfrm>
        </p:spPr>
        <p:txBody>
          <a:bodyPr anchor="ctr"/>
          <a:lstStyle>
            <a:lvl1pPr marL="0" indent="0" algn="l">
              <a:buNone/>
              <a:defRPr sz="2000" cap="all">
                <a:solidFill>
                  <a:srgbClr val="007F6E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B55195-A0CC-4C96-A782-A7016AA61135}" type="datetime1">
              <a:rPr lang="en-US" smtClean="0"/>
              <a:t>4/9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85007BAF-C39A-7842-A1A1-47A01A3AA5A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10438991" y="6226146"/>
            <a:ext cx="1369242" cy="444559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4B53E980-6F60-FB4C-990A-3CF892F940BA}"/>
              </a:ext>
            </a:extLst>
          </p:cNvPr>
          <p:cNvSpPr/>
          <p:nvPr userDrawn="1"/>
        </p:nvSpPr>
        <p:spPr>
          <a:xfrm>
            <a:off x="10437812" y="0"/>
            <a:ext cx="685800" cy="1143000"/>
          </a:xfrm>
          <a:prstGeom prst="rect">
            <a:avLst/>
          </a:prstGeom>
          <a:solidFill>
            <a:srgbClr val="F1BB2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B605EBD4-6CC7-3544-9EF7-954E4A45F09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10352540" y="295729"/>
            <a:ext cx="838199" cy="7676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ctr">
              <a:defRPr sz="2800" b="0" i="0">
                <a:solidFill>
                  <a:schemeClr val="bg1"/>
                </a:solidFill>
              </a:defRPr>
            </a:lvl1pPr>
          </a:lstStyle>
          <a:p>
            <a:fld id="{D57F1E4F-1CFF-5643-939E-217C01CDF565}" type="slidenum">
              <a:rPr lang="en-US" dirty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86642CF0-000E-C444-8E41-262B85E40F9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-18364" y="-8464"/>
            <a:ext cx="121793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4" y="2677645"/>
            <a:ext cx="4351025" cy="2283824"/>
          </a:xfrm>
        </p:spPr>
        <p:txBody>
          <a:bodyPr anchor="ctr"/>
          <a:lstStyle>
            <a:lvl1pPr algn="l">
              <a:defRPr sz="4000" b="0" cap="none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95559" y="2677644"/>
            <a:ext cx="3757545" cy="2283824"/>
          </a:xfrm>
        </p:spPr>
        <p:txBody>
          <a:bodyPr anchor="ctr"/>
          <a:lstStyle>
            <a:lvl1pPr marL="0" indent="0" algn="l">
              <a:buNone/>
              <a:defRPr sz="2000" cap="all">
                <a:solidFill>
                  <a:srgbClr val="325095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28A6C1-903A-42FB-A83D-2182A32E100B}" type="datetime1">
              <a:rPr lang="en-US" smtClean="0"/>
              <a:t>4/9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24A7E536-5196-AD4E-A985-64C270DC2B23}"/>
              </a:ext>
            </a:extLst>
          </p:cNvPr>
          <p:cNvSpPr/>
          <p:nvPr userDrawn="1"/>
        </p:nvSpPr>
        <p:spPr>
          <a:xfrm>
            <a:off x="10437812" y="0"/>
            <a:ext cx="685800" cy="1143000"/>
          </a:xfrm>
          <a:prstGeom prst="rect">
            <a:avLst/>
          </a:prstGeom>
          <a:solidFill>
            <a:srgbClr val="F1BB2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5E353763-20EE-D94A-BE3A-6D4A9660039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10352540" y="295729"/>
            <a:ext cx="838199" cy="7676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ctr">
              <a:defRPr sz="2800" b="0" i="0">
                <a:solidFill>
                  <a:schemeClr val="bg1"/>
                </a:solidFill>
              </a:defRPr>
            </a:lvl1pPr>
          </a:lstStyle>
          <a:p>
            <a:fld id="{D57F1E4F-1CFF-5643-939E-217C01CDF565}" type="slidenum">
              <a:rPr lang="en-US" dirty="0"/>
              <a:pPr/>
              <a:t>‹#›</a:t>
            </a:fld>
            <a:endParaRPr lang="en-US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E968DDB1-C1D6-BF43-B7A0-87B1DFCC50B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10438991" y="6226146"/>
            <a:ext cx="1369242" cy="4445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586824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154954" y="2603500"/>
            <a:ext cx="4825158" cy="3416301"/>
          </a:xfrm>
        </p:spPr>
        <p:txBody>
          <a:bodyPr>
            <a:normAutofit/>
          </a:bodyPr>
          <a:lstStyle>
            <a:lvl1pPr>
              <a:buClr>
                <a:srgbClr val="007F6E"/>
              </a:buClr>
              <a:defRPr/>
            </a:lvl1pPr>
            <a:lvl2pPr>
              <a:buClr>
                <a:srgbClr val="007F6E"/>
              </a:buClr>
              <a:defRPr/>
            </a:lvl2pPr>
            <a:lvl3pPr>
              <a:buClr>
                <a:srgbClr val="007F6E"/>
              </a:buClr>
              <a:defRPr/>
            </a:lvl3pPr>
            <a:lvl4pPr>
              <a:buClr>
                <a:srgbClr val="007F6E"/>
              </a:buClr>
              <a:defRPr/>
            </a:lvl4pPr>
            <a:lvl5pPr>
              <a:buClr>
                <a:srgbClr val="007F6E"/>
              </a:buClr>
              <a:defRPr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08712" y="2603500"/>
            <a:ext cx="4825159" cy="3416300"/>
          </a:xfrm>
        </p:spPr>
        <p:txBody>
          <a:bodyPr>
            <a:normAutofit/>
          </a:bodyPr>
          <a:lstStyle>
            <a:lvl1pPr>
              <a:buClr>
                <a:srgbClr val="007F6E"/>
              </a:buClr>
              <a:defRPr/>
            </a:lvl1pPr>
            <a:lvl2pPr>
              <a:buClr>
                <a:srgbClr val="007F6E"/>
              </a:buClr>
              <a:defRPr/>
            </a:lvl2pPr>
            <a:lvl3pPr>
              <a:buClr>
                <a:srgbClr val="007F6E"/>
              </a:buClr>
              <a:defRPr/>
            </a:lvl3pPr>
            <a:lvl4pPr>
              <a:buClr>
                <a:srgbClr val="007F6E"/>
              </a:buClr>
              <a:defRPr/>
            </a:lvl4pPr>
            <a:lvl5pPr>
              <a:buClr>
                <a:srgbClr val="007F6E"/>
              </a:buClr>
              <a:defRPr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08A7C9-081C-4302-9CB1-D22C430E2072}" type="datetime1">
              <a:rPr lang="en-US" smtClean="0"/>
              <a:t>4/9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54954" y="2603500"/>
            <a:ext cx="4825157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rgbClr val="007F6E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154954" y="3179762"/>
            <a:ext cx="4825158" cy="2840039"/>
          </a:xfrm>
        </p:spPr>
        <p:txBody>
          <a:bodyPr>
            <a:normAutofit/>
          </a:bodyPr>
          <a:lstStyle>
            <a:lvl1pPr>
              <a:buClr>
                <a:srgbClr val="007F6E"/>
              </a:buClr>
              <a:defRPr/>
            </a:lvl1pPr>
            <a:lvl2pPr>
              <a:buClr>
                <a:srgbClr val="007F6E"/>
              </a:buClr>
              <a:defRPr/>
            </a:lvl2pPr>
            <a:lvl3pPr>
              <a:buClr>
                <a:srgbClr val="007F6E"/>
              </a:buClr>
              <a:defRPr/>
            </a:lvl3pPr>
            <a:lvl4pPr>
              <a:buClr>
                <a:srgbClr val="007F6E"/>
              </a:buClr>
              <a:defRPr/>
            </a:lvl4pPr>
            <a:lvl5pPr>
              <a:buClr>
                <a:srgbClr val="007F6E"/>
              </a:buClr>
              <a:defRPr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208712" y="2603500"/>
            <a:ext cx="4825159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rgbClr val="007F6E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08712" y="3179762"/>
            <a:ext cx="4825159" cy="2840039"/>
          </a:xfrm>
        </p:spPr>
        <p:txBody>
          <a:bodyPr>
            <a:normAutofit/>
          </a:bodyPr>
          <a:lstStyle>
            <a:lvl1pPr>
              <a:buClr>
                <a:srgbClr val="007F6E"/>
              </a:buClr>
              <a:defRPr sz="1800"/>
            </a:lvl1pPr>
            <a:lvl2pPr>
              <a:buClr>
                <a:srgbClr val="007F6E"/>
              </a:buClr>
              <a:defRPr sz="1600"/>
            </a:lvl2pPr>
            <a:lvl3pPr>
              <a:buClr>
                <a:srgbClr val="007F6E"/>
              </a:buClr>
              <a:defRPr sz="1400"/>
            </a:lvl3pPr>
            <a:lvl4pPr>
              <a:buClr>
                <a:srgbClr val="007F6E"/>
              </a:buClr>
              <a:defRPr sz="1200"/>
            </a:lvl4pPr>
            <a:lvl5pPr>
              <a:buClr>
                <a:srgbClr val="007F6E"/>
              </a:buCl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C3966E-440B-4EE3-983C-8BC334C7FBDF}" type="datetime1">
              <a:rPr lang="en-US" smtClean="0"/>
              <a:t>4/9/2025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1154954" y="973668"/>
            <a:ext cx="8761413" cy="706964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FEA97F-0666-4CC4-92DB-9811BA89C834}" type="datetime1">
              <a:rPr lang="en-US" smtClean="0"/>
              <a:t>4/9/202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41885F-3250-431F-9CA9-9C1211528AD4}" type="datetime1">
              <a:rPr lang="en-US" smtClean="0"/>
              <a:t>4/9/202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3E5F2E9-1F1D-0B4F-94B0-E6EA00FCB348}"/>
              </a:ext>
            </a:extLst>
          </p:cNvPr>
          <p:cNvSpPr/>
          <p:nvPr userDrawn="1"/>
        </p:nvSpPr>
        <p:spPr>
          <a:xfrm>
            <a:off x="10437812" y="0"/>
            <a:ext cx="685800" cy="1143000"/>
          </a:xfrm>
          <a:prstGeom prst="rect">
            <a:avLst/>
          </a:prstGeom>
          <a:solidFill>
            <a:srgbClr val="F1BB2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8FF658B1-96C3-A144-9562-F00D7E3E92D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10352540" y="295729"/>
            <a:ext cx="838199" cy="7676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ctr">
              <a:defRPr sz="2800" b="0" i="0">
                <a:solidFill>
                  <a:schemeClr val="bg1"/>
                </a:solidFill>
              </a:defRPr>
            </a:lvl1pPr>
          </a:lstStyle>
          <a:p>
            <a:fld id="{D57F1E4F-1CFF-5643-939E-217C01CDF565}" type="slidenum">
              <a:rPr lang="en-US" dirty="0"/>
              <a:pPr/>
              <a:t>‹#›</a:t>
            </a:fld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FFFD7CDC-518B-B542-A22C-DED73E5FFF4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0438991" y="6226146"/>
            <a:ext cx="1369242" cy="444559"/>
          </a:xfrm>
          <a:prstGeom prst="rect">
            <a:avLst/>
          </a:prstGeom>
        </p:spPr>
      </p:pic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image" Target="../media/image4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3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2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heme" Target="../theme/theme1.xml"/><Relationship Id="rId30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/>
          <p:cNvGraphicFramePr>
            <a:graphicFrameLocks noChangeAspect="1"/>
          </p:cNvGraphicFramePr>
          <p:nvPr userDrawn="1">
            <p:custDataLst>
              <p:tags r:id="rId29"/>
            </p:custDataLst>
            <p:extLst>
              <p:ext uri="{D42A27DB-BD31-4B8C-83A1-F6EECF244321}">
                <p14:modId xmlns:p14="http://schemas.microsoft.com/office/powerpoint/2010/main" val="9565608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5" name="think-cell Slide" r:id="rId30" imgW="360" imgH="360" progId="TCLayout.ActiveDocument.1">
                  <p:embed/>
                </p:oleObj>
              </mc:Choice>
              <mc:Fallback>
                <p:oleObj name="think-cell Slide" r:id="rId30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 descr="A close up of a screen&#10;&#10;Description automatically generated">
            <a:extLst>
              <a:ext uri="{FF2B5EF4-FFF2-40B4-BE49-F238E27FC236}">
                <a16:creationId xmlns:a16="http://schemas.microsoft.com/office/drawing/2014/main" id="{68161D95-F653-E942-8303-453D9920A5F8}"/>
              </a:ext>
            </a:extLst>
          </p:cNvPr>
          <p:cNvPicPr>
            <a:picLocks noChangeAspect="1"/>
          </p:cNvPicPr>
          <p:nvPr userDrawn="1"/>
        </p:nvPicPr>
        <p:blipFill>
          <a:blip r:embed="rId32"/>
          <a:stretch>
            <a:fillRect/>
          </a:stretch>
        </p:blipFill>
        <p:spPr>
          <a:xfrm>
            <a:off x="0" y="-25497"/>
            <a:ext cx="12306953" cy="6929880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1154954" y="973668"/>
            <a:ext cx="8761413" cy="70696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54954" y="2603500"/>
            <a:ext cx="8761413" cy="34163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420905" y="6391838"/>
            <a:ext cx="990599" cy="30479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b="0" i="0">
                <a:solidFill>
                  <a:srgbClr val="325095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1pPr>
          </a:lstStyle>
          <a:p>
            <a:fld id="{70E5E67F-853F-454A-8431-5A68FB33DE64}" type="datetime1">
              <a:rPr lang="en-US" smtClean="0"/>
              <a:t>4/9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61110" y="6391838"/>
            <a:ext cx="3859795" cy="30480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="1" i="0">
                <a:solidFill>
                  <a:srgbClr val="325095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1" name="Rectangle 20"/>
          <p:cNvSpPr/>
          <p:nvPr/>
        </p:nvSpPr>
        <p:spPr>
          <a:xfrm>
            <a:off x="10437812" y="0"/>
            <a:ext cx="685800" cy="1143000"/>
          </a:xfrm>
          <a:prstGeom prst="rect">
            <a:avLst/>
          </a:prstGeom>
          <a:solidFill>
            <a:srgbClr val="F1BB2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sk-SK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10352540" y="295729"/>
            <a:ext cx="838199" cy="7676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ctr">
              <a:defRPr sz="2800" b="0" i="0">
                <a:solidFill>
                  <a:schemeClr val="bg1"/>
                </a:solidFill>
              </a:defRPr>
            </a:lvl1pPr>
          </a:lstStyle>
          <a:p>
            <a:fld id="{D57F1E4F-1CFF-5643-939E-217C01CDF565}" type="slidenum">
              <a:rPr lang="en-US" dirty="0"/>
              <a:pPr/>
              <a:t>‹#›</a:t>
            </a:fld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FE5598B-6A72-4445-8947-DC898D412101}"/>
              </a:ext>
            </a:extLst>
          </p:cNvPr>
          <p:cNvPicPr>
            <a:picLocks noChangeAspect="1"/>
          </p:cNvPicPr>
          <p:nvPr userDrawn="1"/>
        </p:nvPicPr>
        <p:blipFill>
          <a:blip r:embed="rId33"/>
          <a:srcRect/>
          <a:stretch/>
        </p:blipFill>
        <p:spPr>
          <a:xfrm>
            <a:off x="10438991" y="6226146"/>
            <a:ext cx="1369242" cy="444559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74" r:id="rId2"/>
    <p:sldLayoutId id="2147483650" r:id="rId3"/>
    <p:sldLayoutId id="2147483673" r:id="rId4"/>
    <p:sldLayoutId id="2147483675" r:id="rId5"/>
    <p:sldLayoutId id="2147483652" r:id="rId6"/>
    <p:sldLayoutId id="2147483653" r:id="rId7"/>
    <p:sldLayoutId id="2147483654" r:id="rId8"/>
    <p:sldLayoutId id="2147483655" r:id="rId9"/>
    <p:sldLayoutId id="2147483656" r:id="rId10"/>
    <p:sldLayoutId id="2147483676" r:id="rId11"/>
    <p:sldLayoutId id="2147483668" r:id="rId12"/>
    <p:sldLayoutId id="2147483677" r:id="rId13"/>
    <p:sldLayoutId id="2147483667" r:id="rId14"/>
    <p:sldLayoutId id="2147483678" r:id="rId15"/>
    <p:sldLayoutId id="2147483661" r:id="rId16"/>
    <p:sldLayoutId id="2147483679" r:id="rId17"/>
    <p:sldLayoutId id="2147483672" r:id="rId18"/>
    <p:sldLayoutId id="2147483680" r:id="rId19"/>
    <p:sldLayoutId id="2147483662" r:id="rId20"/>
    <p:sldLayoutId id="2147483682" r:id="rId21"/>
    <p:sldLayoutId id="2147483669" r:id="rId22"/>
    <p:sldLayoutId id="2147483670" r:id="rId23"/>
    <p:sldLayoutId id="2147483658" r:id="rId24"/>
    <p:sldLayoutId id="2147483659" r:id="rId25"/>
    <p:sldLayoutId id="2147483681" r:id="rId26"/>
  </p:sldLayoutIdLst>
  <p:hf hdr="0" ftr="0" dt="0"/>
  <p:txStyles>
    <p:titleStyle>
      <a:lvl1pPr algn="l" defTabSz="457200" rtl="0" eaLnBrk="1" latinLnBrk="0" hangingPunct="1">
        <a:spcBef>
          <a:spcPct val="0"/>
        </a:spcBef>
        <a:buNone/>
        <a:defRPr sz="3600" b="0" i="0" kern="1200">
          <a:solidFill>
            <a:schemeClr val="bg2"/>
          </a:solidFill>
          <a:latin typeface="Arial Narrow" panose="020B0604020202020204" pitchFamily="34" charset="0"/>
          <a:ea typeface="+mj-ea"/>
          <a:cs typeface="Arial Narrow" panose="020B0604020202020204" pitchFamily="34" charset="0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342900" indent="-342900" algn="l" defTabSz="457200" rtl="0" eaLnBrk="1" latinLnBrk="0" hangingPunct="1">
        <a:spcBef>
          <a:spcPts val="1000"/>
        </a:spcBef>
        <a:spcAft>
          <a:spcPts val="0"/>
        </a:spcAft>
        <a:buClr>
          <a:srgbClr val="F1BB2A"/>
        </a:buClr>
        <a:buSzPct val="80000"/>
        <a:buFont typeface="Wingdings 3" charset="2"/>
        <a:buChar char=""/>
        <a:defRPr sz="1800" b="0" i="0" kern="1200">
          <a:solidFill>
            <a:schemeClr val="tx1">
              <a:lumMod val="75000"/>
              <a:lumOff val="25000"/>
            </a:schemeClr>
          </a:solidFill>
          <a:latin typeface="Arial Narrow" panose="020B0604020202020204" pitchFamily="34" charset="0"/>
          <a:ea typeface="+mn-ea"/>
          <a:cs typeface="Arial Narrow" panose="020B0604020202020204" pitchFamily="34" charset="0"/>
        </a:defRPr>
      </a:lvl1pPr>
      <a:lvl2pPr marL="742950" indent="-285750" algn="l" defTabSz="457200" rtl="0" eaLnBrk="1" latinLnBrk="0" hangingPunct="1">
        <a:spcBef>
          <a:spcPts val="1000"/>
        </a:spcBef>
        <a:spcAft>
          <a:spcPts val="0"/>
        </a:spcAft>
        <a:buClr>
          <a:srgbClr val="F1BB2A"/>
        </a:buClr>
        <a:buSzPct val="80000"/>
        <a:buFont typeface="Wingdings 3" charset="2"/>
        <a:buChar char=""/>
        <a:defRPr sz="1600" b="0" i="0" kern="1200">
          <a:solidFill>
            <a:schemeClr val="tx1">
              <a:lumMod val="75000"/>
              <a:lumOff val="25000"/>
            </a:schemeClr>
          </a:solidFill>
          <a:latin typeface="Arial Narrow" panose="020B0604020202020204" pitchFamily="34" charset="0"/>
          <a:ea typeface="+mn-ea"/>
          <a:cs typeface="Arial Narrow" panose="020B0604020202020204" pitchFamily="34" charset="0"/>
        </a:defRPr>
      </a:lvl2pPr>
      <a:lvl3pPr marL="1143000" indent="-228600" algn="l" defTabSz="457200" rtl="0" eaLnBrk="1" latinLnBrk="0" hangingPunct="1">
        <a:spcBef>
          <a:spcPts val="1000"/>
        </a:spcBef>
        <a:spcAft>
          <a:spcPts val="0"/>
        </a:spcAft>
        <a:buClr>
          <a:srgbClr val="F1BB2A"/>
        </a:buClr>
        <a:buSzPct val="80000"/>
        <a:buFont typeface="Wingdings 3" charset="2"/>
        <a:buChar char=""/>
        <a:defRPr sz="1400" b="0" i="0" kern="1200">
          <a:solidFill>
            <a:schemeClr val="tx1">
              <a:lumMod val="75000"/>
              <a:lumOff val="25000"/>
            </a:schemeClr>
          </a:solidFill>
          <a:latin typeface="Arial Narrow" panose="020B0604020202020204" pitchFamily="34" charset="0"/>
          <a:ea typeface="+mn-ea"/>
          <a:cs typeface="Arial Narrow" panose="020B0604020202020204" pitchFamily="34" charset="0"/>
        </a:defRPr>
      </a:lvl3pPr>
      <a:lvl4pPr marL="1600200" indent="-228600" algn="l" defTabSz="457200" rtl="0" eaLnBrk="1" latinLnBrk="0" hangingPunct="1">
        <a:spcBef>
          <a:spcPts val="1000"/>
        </a:spcBef>
        <a:spcAft>
          <a:spcPts val="0"/>
        </a:spcAft>
        <a:buClr>
          <a:srgbClr val="F1BB2A"/>
        </a:buClr>
        <a:buSzPct val="80000"/>
        <a:buFont typeface="Wingdings 3" charset="2"/>
        <a:buChar char=""/>
        <a:defRPr sz="1200" b="0" i="0" kern="1200">
          <a:solidFill>
            <a:schemeClr val="tx1">
              <a:lumMod val="75000"/>
              <a:lumOff val="25000"/>
            </a:schemeClr>
          </a:solidFill>
          <a:latin typeface="Arial Narrow" panose="020B0604020202020204" pitchFamily="34" charset="0"/>
          <a:ea typeface="+mn-ea"/>
          <a:cs typeface="Arial Narrow" panose="020B0604020202020204" pitchFamily="34" charset="0"/>
        </a:defRPr>
      </a:lvl4pPr>
      <a:lvl5pPr marL="2057400" indent="-228600" algn="l" defTabSz="457200" rtl="0" eaLnBrk="1" latinLnBrk="0" hangingPunct="1">
        <a:spcBef>
          <a:spcPts val="1000"/>
        </a:spcBef>
        <a:spcAft>
          <a:spcPts val="0"/>
        </a:spcAft>
        <a:buClr>
          <a:srgbClr val="F1BB2A"/>
        </a:buClr>
        <a:buSzPct val="80000"/>
        <a:buFont typeface="Wingdings 3" charset="2"/>
        <a:buChar char=""/>
        <a:defRPr sz="1200" b="0" i="0" kern="1200">
          <a:solidFill>
            <a:schemeClr val="tx1">
              <a:lumMod val="75000"/>
              <a:lumOff val="25000"/>
            </a:schemeClr>
          </a:solidFill>
          <a:latin typeface="Arial Narrow" panose="020B0604020202020204" pitchFamily="34" charset="0"/>
          <a:ea typeface="+mn-ea"/>
          <a:cs typeface="Arial Narrow" panose="020B0604020202020204" pitchFamily="34" charset="0"/>
        </a:defRPr>
      </a:lvl5pPr>
      <a:lvl6pPr marL="25146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b="0" i="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b="0" i="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b="0" i="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b="0" i="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9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9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9.xml"/><Relationship Id="rId5" Type="http://schemas.openxmlformats.org/officeDocument/2006/relationships/image" Target="../media/image32.png"/><Relationship Id="rId4" Type="http://schemas.openxmlformats.org/officeDocument/2006/relationships/image" Target="../media/image31.pn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normoff.gov.sk/files/docs/e-fakturacia-stn-en-16931-1-a1-614d692fbcaa2.pdf" TargetMode="External"/><Relationship Id="rId1" Type="http://schemas.openxmlformats.org/officeDocument/2006/relationships/slideLayout" Target="../slideLayouts/slideLayout9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9.xml"/><Relationship Id="rId1" Type="http://schemas.openxmlformats.org/officeDocument/2006/relationships/vmlDrawing" Target="../drawings/vmlDrawing7.vml"/><Relationship Id="rId4" Type="http://schemas.openxmlformats.org/officeDocument/2006/relationships/image" Target="../media/image33.emf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9.xml"/></Relationships>
</file>

<file path=ppt/slides/_rels/slide16.xml.rels><?xml version="1.0" encoding="UTF-8" standalone="yes"?>
<Relationships xmlns="http://schemas.openxmlformats.org/package/2006/relationships"><Relationship Id="rId13" Type="http://schemas.openxmlformats.org/officeDocument/2006/relationships/tags" Target="../tags/tag19.xml"/><Relationship Id="rId18" Type="http://schemas.openxmlformats.org/officeDocument/2006/relationships/tags" Target="../tags/tag24.xml"/><Relationship Id="rId26" Type="http://schemas.openxmlformats.org/officeDocument/2006/relationships/tags" Target="../tags/tag32.xml"/><Relationship Id="rId39" Type="http://schemas.openxmlformats.org/officeDocument/2006/relationships/tags" Target="../tags/tag45.xml"/><Relationship Id="rId21" Type="http://schemas.openxmlformats.org/officeDocument/2006/relationships/tags" Target="../tags/tag27.xml"/><Relationship Id="rId34" Type="http://schemas.openxmlformats.org/officeDocument/2006/relationships/tags" Target="../tags/tag40.xml"/><Relationship Id="rId42" Type="http://schemas.openxmlformats.org/officeDocument/2006/relationships/tags" Target="../tags/tag48.xml"/><Relationship Id="rId47" Type="http://schemas.openxmlformats.org/officeDocument/2006/relationships/tags" Target="../tags/tag53.xml"/><Relationship Id="rId50" Type="http://schemas.openxmlformats.org/officeDocument/2006/relationships/tags" Target="../tags/tag56.xml"/><Relationship Id="rId55" Type="http://schemas.openxmlformats.org/officeDocument/2006/relationships/tags" Target="../tags/tag61.xml"/><Relationship Id="rId63" Type="http://schemas.openxmlformats.org/officeDocument/2006/relationships/tags" Target="../tags/tag69.xml"/><Relationship Id="rId68" Type="http://schemas.openxmlformats.org/officeDocument/2006/relationships/tags" Target="../tags/tag74.xml"/><Relationship Id="rId76" Type="http://schemas.openxmlformats.org/officeDocument/2006/relationships/oleObject" Target="../embeddings/oleObject8.bin"/><Relationship Id="rId7" Type="http://schemas.openxmlformats.org/officeDocument/2006/relationships/tags" Target="../tags/tag13.xml"/><Relationship Id="rId71" Type="http://schemas.openxmlformats.org/officeDocument/2006/relationships/tags" Target="../tags/tag77.xml"/><Relationship Id="rId2" Type="http://schemas.openxmlformats.org/officeDocument/2006/relationships/tags" Target="../tags/tag8.xml"/><Relationship Id="rId16" Type="http://schemas.openxmlformats.org/officeDocument/2006/relationships/tags" Target="../tags/tag22.xml"/><Relationship Id="rId29" Type="http://schemas.openxmlformats.org/officeDocument/2006/relationships/tags" Target="../tags/tag35.xml"/><Relationship Id="rId11" Type="http://schemas.openxmlformats.org/officeDocument/2006/relationships/tags" Target="../tags/tag17.xml"/><Relationship Id="rId24" Type="http://schemas.openxmlformats.org/officeDocument/2006/relationships/tags" Target="../tags/tag30.xml"/><Relationship Id="rId32" Type="http://schemas.openxmlformats.org/officeDocument/2006/relationships/tags" Target="../tags/tag38.xml"/><Relationship Id="rId37" Type="http://schemas.openxmlformats.org/officeDocument/2006/relationships/tags" Target="../tags/tag43.xml"/><Relationship Id="rId40" Type="http://schemas.openxmlformats.org/officeDocument/2006/relationships/tags" Target="../tags/tag46.xml"/><Relationship Id="rId45" Type="http://schemas.openxmlformats.org/officeDocument/2006/relationships/tags" Target="../tags/tag51.xml"/><Relationship Id="rId53" Type="http://schemas.openxmlformats.org/officeDocument/2006/relationships/tags" Target="../tags/tag59.xml"/><Relationship Id="rId58" Type="http://schemas.openxmlformats.org/officeDocument/2006/relationships/tags" Target="../tags/tag64.xml"/><Relationship Id="rId66" Type="http://schemas.openxmlformats.org/officeDocument/2006/relationships/tags" Target="../tags/tag72.xml"/><Relationship Id="rId74" Type="http://schemas.openxmlformats.org/officeDocument/2006/relationships/tags" Target="../tags/tag80.xml"/><Relationship Id="rId5" Type="http://schemas.openxmlformats.org/officeDocument/2006/relationships/tags" Target="../tags/tag11.xml"/><Relationship Id="rId15" Type="http://schemas.openxmlformats.org/officeDocument/2006/relationships/tags" Target="../tags/tag21.xml"/><Relationship Id="rId23" Type="http://schemas.openxmlformats.org/officeDocument/2006/relationships/tags" Target="../tags/tag29.xml"/><Relationship Id="rId28" Type="http://schemas.openxmlformats.org/officeDocument/2006/relationships/tags" Target="../tags/tag34.xml"/><Relationship Id="rId36" Type="http://schemas.openxmlformats.org/officeDocument/2006/relationships/tags" Target="../tags/tag42.xml"/><Relationship Id="rId49" Type="http://schemas.openxmlformats.org/officeDocument/2006/relationships/tags" Target="../tags/tag55.xml"/><Relationship Id="rId57" Type="http://schemas.openxmlformats.org/officeDocument/2006/relationships/tags" Target="../tags/tag63.xml"/><Relationship Id="rId61" Type="http://schemas.openxmlformats.org/officeDocument/2006/relationships/tags" Target="../tags/tag67.xml"/><Relationship Id="rId10" Type="http://schemas.openxmlformats.org/officeDocument/2006/relationships/tags" Target="../tags/tag16.xml"/><Relationship Id="rId19" Type="http://schemas.openxmlformats.org/officeDocument/2006/relationships/tags" Target="../tags/tag25.xml"/><Relationship Id="rId31" Type="http://schemas.openxmlformats.org/officeDocument/2006/relationships/tags" Target="../tags/tag37.xml"/><Relationship Id="rId44" Type="http://schemas.openxmlformats.org/officeDocument/2006/relationships/tags" Target="../tags/tag50.xml"/><Relationship Id="rId52" Type="http://schemas.openxmlformats.org/officeDocument/2006/relationships/tags" Target="../tags/tag58.xml"/><Relationship Id="rId60" Type="http://schemas.openxmlformats.org/officeDocument/2006/relationships/tags" Target="../tags/tag66.xml"/><Relationship Id="rId65" Type="http://schemas.openxmlformats.org/officeDocument/2006/relationships/tags" Target="../tags/tag71.xml"/><Relationship Id="rId73" Type="http://schemas.openxmlformats.org/officeDocument/2006/relationships/tags" Target="../tags/tag79.xml"/><Relationship Id="rId4" Type="http://schemas.openxmlformats.org/officeDocument/2006/relationships/tags" Target="../tags/tag10.xml"/><Relationship Id="rId9" Type="http://schemas.openxmlformats.org/officeDocument/2006/relationships/tags" Target="../tags/tag15.xml"/><Relationship Id="rId14" Type="http://schemas.openxmlformats.org/officeDocument/2006/relationships/tags" Target="../tags/tag20.xml"/><Relationship Id="rId22" Type="http://schemas.openxmlformats.org/officeDocument/2006/relationships/tags" Target="../tags/tag28.xml"/><Relationship Id="rId27" Type="http://schemas.openxmlformats.org/officeDocument/2006/relationships/tags" Target="../tags/tag33.xml"/><Relationship Id="rId30" Type="http://schemas.openxmlformats.org/officeDocument/2006/relationships/tags" Target="../tags/tag36.xml"/><Relationship Id="rId35" Type="http://schemas.openxmlformats.org/officeDocument/2006/relationships/tags" Target="../tags/tag41.xml"/><Relationship Id="rId43" Type="http://schemas.openxmlformats.org/officeDocument/2006/relationships/tags" Target="../tags/tag49.xml"/><Relationship Id="rId48" Type="http://schemas.openxmlformats.org/officeDocument/2006/relationships/tags" Target="../tags/tag54.xml"/><Relationship Id="rId56" Type="http://schemas.openxmlformats.org/officeDocument/2006/relationships/tags" Target="../tags/tag62.xml"/><Relationship Id="rId64" Type="http://schemas.openxmlformats.org/officeDocument/2006/relationships/tags" Target="../tags/tag70.xml"/><Relationship Id="rId69" Type="http://schemas.openxmlformats.org/officeDocument/2006/relationships/tags" Target="../tags/tag75.xml"/><Relationship Id="rId77" Type="http://schemas.openxmlformats.org/officeDocument/2006/relationships/image" Target="../media/image2.emf"/><Relationship Id="rId8" Type="http://schemas.openxmlformats.org/officeDocument/2006/relationships/tags" Target="../tags/tag14.xml"/><Relationship Id="rId51" Type="http://schemas.openxmlformats.org/officeDocument/2006/relationships/tags" Target="../tags/tag57.xml"/><Relationship Id="rId72" Type="http://schemas.openxmlformats.org/officeDocument/2006/relationships/tags" Target="../tags/tag78.xml"/><Relationship Id="rId3" Type="http://schemas.openxmlformats.org/officeDocument/2006/relationships/tags" Target="../tags/tag9.xml"/><Relationship Id="rId12" Type="http://schemas.openxmlformats.org/officeDocument/2006/relationships/tags" Target="../tags/tag18.xml"/><Relationship Id="rId17" Type="http://schemas.openxmlformats.org/officeDocument/2006/relationships/tags" Target="../tags/tag23.xml"/><Relationship Id="rId25" Type="http://schemas.openxmlformats.org/officeDocument/2006/relationships/tags" Target="../tags/tag31.xml"/><Relationship Id="rId33" Type="http://schemas.openxmlformats.org/officeDocument/2006/relationships/tags" Target="../tags/tag39.xml"/><Relationship Id="rId38" Type="http://schemas.openxmlformats.org/officeDocument/2006/relationships/tags" Target="../tags/tag44.xml"/><Relationship Id="rId46" Type="http://schemas.openxmlformats.org/officeDocument/2006/relationships/tags" Target="../tags/tag52.xml"/><Relationship Id="rId59" Type="http://schemas.openxmlformats.org/officeDocument/2006/relationships/tags" Target="../tags/tag65.xml"/><Relationship Id="rId67" Type="http://schemas.openxmlformats.org/officeDocument/2006/relationships/tags" Target="../tags/tag73.xml"/><Relationship Id="rId20" Type="http://schemas.openxmlformats.org/officeDocument/2006/relationships/tags" Target="../tags/tag26.xml"/><Relationship Id="rId41" Type="http://schemas.openxmlformats.org/officeDocument/2006/relationships/tags" Target="../tags/tag47.xml"/><Relationship Id="rId54" Type="http://schemas.openxmlformats.org/officeDocument/2006/relationships/tags" Target="../tags/tag60.xml"/><Relationship Id="rId62" Type="http://schemas.openxmlformats.org/officeDocument/2006/relationships/tags" Target="../tags/tag68.xml"/><Relationship Id="rId70" Type="http://schemas.openxmlformats.org/officeDocument/2006/relationships/tags" Target="../tags/tag76.xml"/><Relationship Id="rId75" Type="http://schemas.openxmlformats.org/officeDocument/2006/relationships/slideLayout" Target="../slideLayouts/slideLayout9.xml"/><Relationship Id="rId1" Type="http://schemas.openxmlformats.org/officeDocument/2006/relationships/vmlDrawing" Target="../drawings/vmlDrawing8.vml"/><Relationship Id="rId6" Type="http://schemas.openxmlformats.org/officeDocument/2006/relationships/tags" Target="../tags/tag1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hyperlink" Target="https://docs.peppol.eu/poacc/billing/3.0/" TargetMode="External"/><Relationship Id="rId2" Type="http://schemas.openxmlformats.org/officeDocument/2006/relationships/hyperlink" Target="https://www.normoff.gov.sk/files/docs/e-fakturacia-stn-en-16931-1-a1-614d692fbcaa2.pdf" TargetMode="External"/><Relationship Id="rId1" Type="http://schemas.openxmlformats.org/officeDocument/2006/relationships/slideLayout" Target="../slideLayouts/slideLayout9.xml"/><Relationship Id="rId5" Type="http://schemas.openxmlformats.org/officeDocument/2006/relationships/hyperlink" Target="http://www.peppol.org/" TargetMode="External"/><Relationship Id="rId4" Type="http://schemas.openxmlformats.org/officeDocument/2006/relationships/hyperlink" Target="https://peppol.helger.com/public/locale-en_US/menuitem-news;jsessionid=DF1EB42CFF512F312D854944AF59B57D" TargetMode="Externa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9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hyperlink" Target="https://v0-elala-eehfpr.vercel.app/" TargetMode="External"/><Relationship Id="rId1" Type="http://schemas.openxmlformats.org/officeDocument/2006/relationships/slideLayout" Target="../slideLayouts/slideLayout9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slideLayout" Target="../slideLayouts/slideLayout9.xml"/><Relationship Id="rId7" Type="http://schemas.openxmlformats.org/officeDocument/2006/relationships/image" Target="../media/image21.pn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0.png"/><Relationship Id="rId5" Type="http://schemas.openxmlformats.org/officeDocument/2006/relationships/image" Target="../media/image19.emf"/><Relationship Id="rId4" Type="http://schemas.openxmlformats.org/officeDocument/2006/relationships/oleObject" Target="../embeddings/oleObject3.bin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9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7" Type="http://schemas.openxmlformats.org/officeDocument/2006/relationships/image" Target="../media/image25.pn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4.bin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9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5.bin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6.bin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260844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6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BlokTextu 11"/>
          <p:cNvSpPr txBox="1"/>
          <p:nvPr/>
        </p:nvSpPr>
        <p:spPr>
          <a:xfrm>
            <a:off x="3939182" y="3394953"/>
            <a:ext cx="3802644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sk-SK" sz="3600" b="1" dirty="0" err="1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Webinár</a:t>
            </a:r>
            <a:r>
              <a:rPr lang="sk-SK" sz="36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 </a:t>
            </a:r>
          </a:p>
          <a:p>
            <a:pPr algn="ctr"/>
            <a:r>
              <a:rPr lang="sk-SK" sz="36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E</a:t>
            </a:r>
            <a:r>
              <a:rPr lang="sk-SK" sz="36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lektronická faktúra</a:t>
            </a:r>
            <a:endParaRPr lang="sk-SK" sz="3600" dirty="0" smtClean="0">
              <a:solidFill>
                <a:schemeClr val="tx1">
                  <a:lumMod val="50000"/>
                  <a:lumOff val="50000"/>
                </a:schemeClr>
              </a:solidFill>
              <a:latin typeface="Arial Narrow" panose="020B0604020202020204" pitchFamily="34" charset="0"/>
              <a:ea typeface="+mj-ea"/>
              <a:cs typeface="Arial Narrow" panose="020B0604020202020204" pitchFamily="34" charset="0"/>
            </a:endParaRPr>
          </a:p>
        </p:txBody>
      </p:sp>
      <p:sp>
        <p:nvSpPr>
          <p:cNvPr id="17" name="BlokTextu 16"/>
          <p:cNvSpPr txBox="1"/>
          <p:nvPr/>
        </p:nvSpPr>
        <p:spPr>
          <a:xfrm>
            <a:off x="714983" y="5617723"/>
            <a:ext cx="10823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k-SK" dirty="0" smtClean="0"/>
              <a:t>9.4.2025</a:t>
            </a:r>
            <a:endParaRPr lang="sk-SK" dirty="0"/>
          </a:p>
        </p:txBody>
      </p:sp>
      <p:sp>
        <p:nvSpPr>
          <p:cNvPr id="2" name="Zástupný objekt pre číslo snímky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45282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rázok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93114" y="334340"/>
            <a:ext cx="3851192" cy="1391489"/>
          </a:xfrm>
          <a:prstGeom prst="rect">
            <a:avLst/>
          </a:prstGeom>
        </p:spPr>
      </p:pic>
      <p:sp>
        <p:nvSpPr>
          <p:cNvPr id="2" name="BlokTextu 1"/>
          <p:cNvSpPr txBox="1"/>
          <p:nvPr/>
        </p:nvSpPr>
        <p:spPr>
          <a:xfrm>
            <a:off x="5425977" y="1181833"/>
            <a:ext cx="5720035" cy="56323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k-SK" sz="2000" dirty="0" err="1" smtClean="0"/>
              <a:t>Peppol</a:t>
            </a:r>
            <a:r>
              <a:rPr lang="sk-SK" sz="2000" dirty="0" smtClean="0"/>
              <a:t> (pôvodne PEPPOL) sú v podstate 3 pojmy v jednom</a:t>
            </a:r>
          </a:p>
          <a:p>
            <a:endParaRPr lang="sk-SK" sz="2000" dirty="0" smtClean="0"/>
          </a:p>
          <a:p>
            <a:pPr marL="342900" indent="-342900">
              <a:buAutoNum type="arabicPeriod"/>
            </a:pPr>
            <a:r>
              <a:rPr lang="sk-SK" sz="2000" b="1" dirty="0" err="1" smtClean="0"/>
              <a:t>Peppol</a:t>
            </a:r>
            <a:r>
              <a:rPr lang="sk-SK" sz="2000" b="1" dirty="0" smtClean="0"/>
              <a:t> </a:t>
            </a:r>
            <a:r>
              <a:rPr lang="sk-SK" sz="2000" b="1" dirty="0" err="1" smtClean="0"/>
              <a:t>Interoperability</a:t>
            </a:r>
            <a:r>
              <a:rPr lang="sk-SK" sz="2000" b="1" dirty="0" smtClean="0"/>
              <a:t> </a:t>
            </a:r>
            <a:r>
              <a:rPr lang="sk-SK" sz="2000" b="1" dirty="0" err="1"/>
              <a:t>F</a:t>
            </a:r>
            <a:r>
              <a:rPr lang="sk-SK" sz="2000" b="1" dirty="0" err="1" smtClean="0"/>
              <a:t>ramework</a:t>
            </a:r>
            <a:r>
              <a:rPr lang="sk-SK" sz="2000" b="1" dirty="0" smtClean="0"/>
              <a:t> </a:t>
            </a:r>
            <a:r>
              <a:rPr lang="sk-SK" sz="2000" dirty="0" smtClean="0"/>
              <a:t>– participanti pristupujú k </a:t>
            </a:r>
          </a:p>
          <a:p>
            <a:pPr marL="800100" lvl="1" indent="-342900">
              <a:buAutoNum type="arabicPeriod"/>
            </a:pPr>
            <a:r>
              <a:rPr lang="sk-SK" sz="2000" dirty="0" smtClean="0"/>
              <a:t>Zmluvám medzi </a:t>
            </a:r>
            <a:r>
              <a:rPr lang="sk-SK" sz="2000" dirty="0" err="1" smtClean="0"/>
              <a:t>OpenPeppol</a:t>
            </a:r>
            <a:r>
              <a:rPr lang="sk-SK" sz="2000" dirty="0" smtClean="0"/>
              <a:t> a miestnou </a:t>
            </a:r>
            <a:r>
              <a:rPr lang="sk-SK" sz="2000" dirty="0" err="1" smtClean="0"/>
              <a:t>Peppol</a:t>
            </a:r>
            <a:r>
              <a:rPr lang="sk-SK" sz="2000" dirty="0" smtClean="0"/>
              <a:t> autoritou</a:t>
            </a:r>
          </a:p>
          <a:p>
            <a:pPr marL="800100" lvl="1" indent="-342900">
              <a:buAutoNum type="arabicPeriod"/>
            </a:pPr>
            <a:r>
              <a:rPr lang="sk-SK" sz="2000" dirty="0" smtClean="0"/>
              <a:t>Pravidlám (</a:t>
            </a:r>
            <a:r>
              <a:rPr lang="sk-SK" sz="2000" dirty="0" err="1" smtClean="0"/>
              <a:t>policies</a:t>
            </a:r>
            <a:r>
              <a:rPr lang="sk-SK" sz="2000" dirty="0" smtClean="0"/>
              <a:t>)</a:t>
            </a:r>
          </a:p>
          <a:p>
            <a:pPr marL="800100" lvl="1" indent="-342900">
              <a:buAutoNum type="arabicPeriod"/>
            </a:pPr>
            <a:r>
              <a:rPr lang="sk-SK" sz="2000" dirty="0" smtClean="0"/>
              <a:t>Požiadavkám a špecifikáciám</a:t>
            </a:r>
          </a:p>
          <a:p>
            <a:pPr marL="800100" lvl="1" indent="-342900">
              <a:buAutoNum type="arabicPeriod"/>
            </a:pPr>
            <a:r>
              <a:rPr lang="sk-SK" sz="2000" dirty="0" smtClean="0"/>
              <a:t>Funkčným a nefunkčným (SLA) požiadavkám</a:t>
            </a:r>
          </a:p>
          <a:p>
            <a:pPr marL="342900" indent="-342900">
              <a:buAutoNum type="arabicPeriod"/>
            </a:pPr>
            <a:r>
              <a:rPr lang="sk-SK" sz="2000" b="1" dirty="0" err="1" smtClean="0"/>
              <a:t>Peppol</a:t>
            </a:r>
            <a:r>
              <a:rPr lang="sk-SK" sz="2000" b="1" dirty="0" smtClean="0"/>
              <a:t> sieť </a:t>
            </a:r>
            <a:r>
              <a:rPr lang="sk-SK" sz="2000" dirty="0" smtClean="0"/>
              <a:t>– servery </a:t>
            </a:r>
            <a:r>
              <a:rPr lang="sk-SK" sz="2000" b="1" dirty="0" smtClean="0"/>
              <a:t>C2 a C3</a:t>
            </a:r>
            <a:r>
              <a:rPr lang="sk-SK" sz="2000" dirty="0" smtClean="0"/>
              <a:t>, na ktorých beží SW v súlade so špecifikáciami (AS4 protokol)</a:t>
            </a:r>
          </a:p>
          <a:p>
            <a:pPr marL="342900" indent="-342900">
              <a:buAutoNum type="arabicPeriod"/>
            </a:pPr>
            <a:r>
              <a:rPr lang="sk-SK" sz="2000" b="1" dirty="0" err="1" smtClean="0"/>
              <a:t>Peppol</a:t>
            </a:r>
            <a:r>
              <a:rPr lang="sk-SK" sz="2000" b="1" dirty="0" smtClean="0"/>
              <a:t> BIS </a:t>
            </a:r>
            <a:r>
              <a:rPr lang="sk-SK" sz="2000" dirty="0" smtClean="0"/>
              <a:t>(</a:t>
            </a:r>
            <a:r>
              <a:rPr lang="sk-SK" sz="2000" b="1" dirty="0" smtClean="0"/>
              <a:t>B</a:t>
            </a:r>
            <a:r>
              <a:rPr lang="sk-SK" sz="2000" dirty="0" smtClean="0"/>
              <a:t>usiness </a:t>
            </a:r>
            <a:r>
              <a:rPr lang="sk-SK" sz="2000" b="1" dirty="0" err="1" smtClean="0"/>
              <a:t>I</a:t>
            </a:r>
            <a:r>
              <a:rPr lang="sk-SK" sz="2000" dirty="0" err="1" smtClean="0"/>
              <a:t>nteroperability</a:t>
            </a:r>
            <a:r>
              <a:rPr lang="sk-SK" sz="2000" dirty="0" smtClean="0"/>
              <a:t> </a:t>
            </a:r>
            <a:r>
              <a:rPr lang="sk-SK" sz="2000" b="1" dirty="0" err="1" smtClean="0"/>
              <a:t>S</a:t>
            </a:r>
            <a:r>
              <a:rPr lang="sk-SK" sz="2000" dirty="0" err="1" smtClean="0"/>
              <a:t>pecifications</a:t>
            </a:r>
            <a:r>
              <a:rPr lang="sk-SK" sz="2000" dirty="0" smtClean="0"/>
              <a:t>) – </a:t>
            </a:r>
            <a:r>
              <a:rPr lang="sk-SK" sz="2000" dirty="0" err="1" smtClean="0"/>
              <a:t>sada</a:t>
            </a:r>
            <a:r>
              <a:rPr lang="sk-SK" sz="2000" dirty="0" smtClean="0"/>
              <a:t> typov dokumentov na výmenu (faktúry, objednávky, </a:t>
            </a:r>
            <a:r>
              <a:rPr lang="sk-SK" sz="2000" dirty="0" err="1" smtClean="0"/>
              <a:t>katalogy</a:t>
            </a:r>
            <a:r>
              <a:rPr lang="sk-SK" sz="2000" dirty="0" smtClean="0"/>
              <a:t>)</a:t>
            </a:r>
            <a:endParaRPr lang="sk-SK" sz="2000" dirty="0"/>
          </a:p>
        </p:txBody>
      </p:sp>
      <p:pic>
        <p:nvPicPr>
          <p:cNvPr id="6" name="Obrázok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95059" y="1888534"/>
            <a:ext cx="3770327" cy="4410667"/>
          </a:xfrm>
          <a:prstGeom prst="rect">
            <a:avLst/>
          </a:prstGeom>
        </p:spPr>
      </p:pic>
      <p:sp>
        <p:nvSpPr>
          <p:cNvPr id="4" name="Zástupný objekt pre číslo snímky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10</a:t>
            </a:fld>
            <a:endParaRPr lang="en-US"/>
          </a:p>
        </p:txBody>
      </p:sp>
      <p:sp>
        <p:nvSpPr>
          <p:cNvPr id="5" name="BlokTextu 4"/>
          <p:cNvSpPr txBox="1"/>
          <p:nvPr/>
        </p:nvSpPr>
        <p:spPr>
          <a:xfrm>
            <a:off x="5556738" y="422031"/>
            <a:ext cx="365356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k-SK" sz="2400" b="1" dirty="0" smtClean="0"/>
              <a:t>4 rohový </a:t>
            </a:r>
            <a:r>
              <a:rPr lang="sk-SK" sz="2400" b="1" dirty="0" err="1" smtClean="0"/>
              <a:t>Peppol</a:t>
            </a:r>
            <a:r>
              <a:rPr lang="sk-SK" sz="2400" b="1" dirty="0" smtClean="0"/>
              <a:t> model</a:t>
            </a:r>
            <a:endParaRPr lang="sk-SK" sz="2400" b="1" dirty="0"/>
          </a:p>
        </p:txBody>
      </p:sp>
    </p:spTree>
    <p:extLst>
      <p:ext uri="{BB962C8B-B14F-4D97-AF65-F5344CB8AC3E}">
        <p14:creationId xmlns:p14="http://schemas.microsoft.com/office/powerpoint/2010/main" val="20160630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rázok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93114" y="334340"/>
            <a:ext cx="3851192" cy="1391489"/>
          </a:xfrm>
          <a:prstGeom prst="rect">
            <a:avLst/>
          </a:prstGeom>
        </p:spPr>
      </p:pic>
      <p:pic>
        <p:nvPicPr>
          <p:cNvPr id="2" name="Obrázok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8487" y="1439335"/>
            <a:ext cx="10496713" cy="4775442"/>
          </a:xfrm>
          <a:prstGeom prst="rect">
            <a:avLst/>
          </a:prstGeom>
        </p:spPr>
      </p:pic>
      <p:sp>
        <p:nvSpPr>
          <p:cNvPr id="4" name="Zástupný objekt pre číslo snímky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11</a:t>
            </a:fld>
            <a:endParaRPr lang="en-US"/>
          </a:p>
        </p:txBody>
      </p:sp>
      <p:sp>
        <p:nvSpPr>
          <p:cNvPr id="5" name="BlokTextu 4"/>
          <p:cNvSpPr txBox="1"/>
          <p:nvPr/>
        </p:nvSpPr>
        <p:spPr>
          <a:xfrm>
            <a:off x="5090745" y="601751"/>
            <a:ext cx="365356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k-SK" sz="2400" b="1" dirty="0"/>
              <a:t>5</a:t>
            </a:r>
            <a:r>
              <a:rPr lang="sk-SK" sz="2400" b="1" dirty="0" smtClean="0"/>
              <a:t> rohový </a:t>
            </a:r>
            <a:r>
              <a:rPr lang="sk-SK" sz="2400" b="1" dirty="0" err="1" smtClean="0"/>
              <a:t>Peppol</a:t>
            </a:r>
            <a:r>
              <a:rPr lang="sk-SK" sz="2400" b="1" dirty="0" smtClean="0"/>
              <a:t> model</a:t>
            </a:r>
            <a:endParaRPr lang="sk-SK" sz="2400" b="1" dirty="0"/>
          </a:p>
        </p:txBody>
      </p:sp>
    </p:spTree>
    <p:extLst>
      <p:ext uri="{BB962C8B-B14F-4D97-AF65-F5344CB8AC3E}">
        <p14:creationId xmlns:p14="http://schemas.microsoft.com/office/powerpoint/2010/main" val="9565988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rázok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15172" y="1989666"/>
            <a:ext cx="7808094" cy="3433234"/>
          </a:xfrm>
          <a:prstGeom prst="rect">
            <a:avLst/>
          </a:prstGeom>
        </p:spPr>
      </p:pic>
      <p:pic>
        <p:nvPicPr>
          <p:cNvPr id="3" name="Obrázok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3114" y="334340"/>
            <a:ext cx="3851192" cy="1391489"/>
          </a:xfrm>
          <a:prstGeom prst="rect">
            <a:avLst/>
          </a:prstGeom>
        </p:spPr>
      </p:pic>
      <p:sp>
        <p:nvSpPr>
          <p:cNvPr id="4" name="BlokTextu 3"/>
          <p:cNvSpPr txBox="1"/>
          <p:nvPr/>
        </p:nvSpPr>
        <p:spPr>
          <a:xfrm>
            <a:off x="8686800" y="2087033"/>
            <a:ext cx="3302000" cy="37856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k-SK" sz="2400" b="1" dirty="0" smtClean="0"/>
              <a:t>SM</a:t>
            </a:r>
            <a:r>
              <a:rPr lang="sk-SK" sz="2400" b="1" u="sng" dirty="0" smtClean="0"/>
              <a:t>L</a:t>
            </a:r>
            <a:r>
              <a:rPr lang="sk-SK" sz="2400" b="1" dirty="0" smtClean="0"/>
              <a:t> – Service </a:t>
            </a:r>
            <a:r>
              <a:rPr lang="sk-SK" sz="2400" b="1" dirty="0" err="1" smtClean="0"/>
              <a:t>Metadata</a:t>
            </a:r>
            <a:r>
              <a:rPr lang="sk-SK" sz="2400" b="1" dirty="0" smtClean="0"/>
              <a:t> </a:t>
            </a:r>
            <a:r>
              <a:rPr lang="sk-SK" sz="2400" b="1" dirty="0" err="1" smtClean="0"/>
              <a:t>Locator</a:t>
            </a:r>
            <a:endParaRPr lang="sk-SK" sz="2400" b="1" dirty="0" smtClean="0"/>
          </a:p>
          <a:p>
            <a:endParaRPr lang="sk-SK" sz="2400" b="1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sk-SK" sz="2400" dirty="0" smtClean="0"/>
              <a:t>Kde je SMP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sk-SK" sz="2400" dirty="0"/>
          </a:p>
          <a:p>
            <a:r>
              <a:rPr lang="sk-SK" sz="2400" b="1" dirty="0" smtClean="0"/>
              <a:t>SM</a:t>
            </a:r>
            <a:r>
              <a:rPr lang="sk-SK" sz="2400" b="1" u="sng" dirty="0" smtClean="0"/>
              <a:t>P</a:t>
            </a:r>
            <a:r>
              <a:rPr lang="sk-SK" sz="2400" b="1" dirty="0" smtClean="0"/>
              <a:t> – Service </a:t>
            </a:r>
            <a:r>
              <a:rPr lang="sk-SK" sz="2400" b="1" dirty="0" err="1" smtClean="0"/>
              <a:t>Metadata</a:t>
            </a:r>
            <a:r>
              <a:rPr lang="sk-SK" sz="2400" b="1" dirty="0"/>
              <a:t> </a:t>
            </a:r>
            <a:r>
              <a:rPr lang="sk-SK" sz="2400" b="1" dirty="0" err="1" smtClean="0"/>
              <a:t>Provider</a:t>
            </a:r>
            <a:endParaRPr lang="sk-SK" sz="2400" b="1" dirty="0" smtClean="0"/>
          </a:p>
          <a:p>
            <a:endParaRPr lang="sk-SK" sz="2400" b="1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sk-SK" sz="2400" dirty="0" smtClean="0"/>
              <a:t>Kde je </a:t>
            </a:r>
            <a:r>
              <a:rPr lang="sk-SK" sz="2400" b="1" dirty="0" smtClean="0"/>
              <a:t>C3</a:t>
            </a:r>
            <a:r>
              <a:rPr lang="sk-SK" sz="2400" dirty="0" smtClean="0"/>
              <a:t> AP End-Point (URL)</a:t>
            </a:r>
            <a:endParaRPr lang="sk-SK" sz="2400" dirty="0"/>
          </a:p>
        </p:txBody>
      </p:sp>
      <p:sp>
        <p:nvSpPr>
          <p:cNvPr id="5" name="Zástupný objekt pre číslo snímky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12</a:t>
            </a:fld>
            <a:endParaRPr lang="en-US"/>
          </a:p>
        </p:txBody>
      </p:sp>
      <p:sp>
        <p:nvSpPr>
          <p:cNvPr id="6" name="BlokTextu 5"/>
          <p:cNvSpPr txBox="1"/>
          <p:nvPr/>
        </p:nvSpPr>
        <p:spPr>
          <a:xfrm>
            <a:off x="4519219" y="1186256"/>
            <a:ext cx="688041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k-SK" sz="2400" b="1" dirty="0" smtClean="0"/>
              <a:t>Doručovanie </a:t>
            </a:r>
            <a:r>
              <a:rPr lang="sk-SK" sz="2400" b="1" u="sng" dirty="0" smtClean="0">
                <a:solidFill>
                  <a:srgbClr val="FF0000"/>
                </a:solidFill>
              </a:rPr>
              <a:t>BEZ</a:t>
            </a:r>
            <a:r>
              <a:rPr lang="sk-SK" sz="2400" b="1" dirty="0" smtClean="0"/>
              <a:t> nutnosti súhlasu odberateľa</a:t>
            </a:r>
          </a:p>
        </p:txBody>
      </p:sp>
      <p:pic>
        <p:nvPicPr>
          <p:cNvPr id="7" name="Obrázok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765431" y="3706283"/>
            <a:ext cx="340702" cy="320791"/>
          </a:xfrm>
          <a:prstGeom prst="rect">
            <a:avLst/>
          </a:prstGeom>
        </p:spPr>
      </p:pic>
      <p:pic>
        <p:nvPicPr>
          <p:cNvPr id="8" name="Obrázok 7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407269" y="3694678"/>
            <a:ext cx="294856" cy="343999"/>
          </a:xfrm>
          <a:prstGeom prst="rect">
            <a:avLst/>
          </a:prstGeom>
        </p:spPr>
      </p:pic>
      <p:pic>
        <p:nvPicPr>
          <p:cNvPr id="9" name="Obrázok 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977272" y="4027074"/>
            <a:ext cx="294856" cy="343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7102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objekt pre číslo snímky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13</a:t>
            </a:fld>
            <a:endParaRPr lang="en-US"/>
          </a:p>
        </p:txBody>
      </p:sp>
      <p:sp>
        <p:nvSpPr>
          <p:cNvPr id="3" name="BlokTextu 2"/>
          <p:cNvSpPr txBox="1"/>
          <p:nvPr/>
        </p:nvSpPr>
        <p:spPr>
          <a:xfrm>
            <a:off x="1492969" y="2431677"/>
            <a:ext cx="9567754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k-SK" sz="2800" dirty="0" smtClean="0"/>
              <a:t>Formát faktúry – Interaktívny prehliadač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sk-SK" sz="2800" u="sng" dirty="0">
                <a:solidFill>
                  <a:srgbClr val="0563C1"/>
                </a:solidFill>
                <a:latin typeface="Calibri" panose="020F0502020204030204" pitchFamily="34" charset="0"/>
                <a:ea typeface="Calibri" panose="020F0502020204030204" pitchFamily="34" charset="0"/>
                <a:hlinkClick r:id="rId2"/>
              </a:rPr>
              <a:t>https://</a:t>
            </a:r>
            <a:r>
              <a:rPr lang="sk-SK" sz="2800" u="sng" dirty="0" smtClean="0">
                <a:solidFill>
                  <a:srgbClr val="0563C1"/>
                </a:solidFill>
                <a:latin typeface="Calibri" panose="020F0502020204030204" pitchFamily="34" charset="0"/>
                <a:ea typeface="Calibri" panose="020F0502020204030204" pitchFamily="34" charset="0"/>
                <a:hlinkClick r:id="rId2"/>
              </a:rPr>
              <a:t>www.normoff.gov.sk/files/docs/e-fakturacia-stn-en-16931-1-a1-614d692fbcaa2.pdf</a:t>
            </a:r>
            <a:endParaRPr lang="sk-SK" sz="2800" u="sng" dirty="0" smtClean="0">
              <a:solidFill>
                <a:srgbClr val="0563C1"/>
              </a:solidFill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sk-SK" sz="2800" u="sng" dirty="0" smtClean="0">
                <a:solidFill>
                  <a:srgbClr val="0563C1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Interaktívny prehliadač</a:t>
            </a:r>
            <a:endParaRPr lang="sk-SK" sz="2800" dirty="0"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endParaRPr lang="sk-SK" sz="2800" dirty="0"/>
          </a:p>
        </p:txBody>
      </p:sp>
    </p:spTree>
    <p:extLst>
      <p:ext uri="{BB962C8B-B14F-4D97-AF65-F5344CB8AC3E}">
        <p14:creationId xmlns:p14="http://schemas.microsoft.com/office/powerpoint/2010/main" val="38325711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845034376"/>
              </p:ext>
            </p:extLst>
          </p:nvPr>
        </p:nvGraphicFramePr>
        <p:xfrm>
          <a:off x="495429" y="1388532"/>
          <a:ext cx="3835271" cy="542739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80" name="Acrobat Document" r:id="rId3" imgW="3778090" imgH="5346382" progId="AcroExch.Document.2020">
                  <p:embed/>
                </p:oleObj>
              </mc:Choice>
              <mc:Fallback>
                <p:oleObj name="Acrobat Document" r:id="rId3" imgW="3778090" imgH="5346382" progId="AcroExch.Document.2020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495429" y="1388532"/>
                        <a:ext cx="3835271" cy="542739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BlokTextu 4"/>
          <p:cNvSpPr txBox="1"/>
          <p:nvPr/>
        </p:nvSpPr>
        <p:spPr>
          <a:xfrm>
            <a:off x="4521198" y="1388532"/>
            <a:ext cx="7251701" cy="48320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sk-SK" sz="2800" dirty="0" smtClean="0"/>
              <a:t>Stručná história EDI</a:t>
            </a:r>
          </a:p>
          <a:p>
            <a:pPr marL="914400" lvl="1" indent="-457200">
              <a:buFont typeface="Arial" panose="020B0604020202020204" pitchFamily="34" charset="0"/>
              <a:buChar char="•"/>
            </a:pPr>
            <a:r>
              <a:rPr lang="sk-SK" sz="2800" dirty="0" smtClean="0"/>
              <a:t>Prečo vznikol UBL</a:t>
            </a:r>
          </a:p>
          <a:p>
            <a:pPr marL="914400" lvl="1" indent="-457200">
              <a:buFont typeface="Arial" panose="020B0604020202020204" pitchFamily="34" charset="0"/>
              <a:buChar char="•"/>
            </a:pPr>
            <a:r>
              <a:rPr lang="sk-SK" sz="2800" dirty="0" smtClean="0"/>
              <a:t>Aký má UBL problém</a:t>
            </a:r>
          </a:p>
          <a:p>
            <a:pPr marL="914400" lvl="1" indent="-457200">
              <a:buFont typeface="Arial" panose="020B0604020202020204" pitchFamily="34" charset="0"/>
              <a:buChar char="•"/>
            </a:pPr>
            <a:r>
              <a:rPr lang="sk-SK" sz="2800" dirty="0" smtClean="0"/>
              <a:t>Čo je EN 16931</a:t>
            </a:r>
          </a:p>
          <a:p>
            <a:pPr marL="914400" lvl="1" indent="-457200">
              <a:buFont typeface="Arial" panose="020B0604020202020204" pitchFamily="34" charset="0"/>
              <a:buChar char="•"/>
            </a:pPr>
            <a:r>
              <a:rPr lang="sk-SK" sz="2800" dirty="0" err="1" smtClean="0"/>
              <a:t>Semantický</a:t>
            </a:r>
            <a:r>
              <a:rPr lang="sk-SK" sz="2800" dirty="0" smtClean="0"/>
              <a:t> model a mapovanie na syntax</a:t>
            </a:r>
          </a:p>
          <a:p>
            <a:pPr marL="914400" lvl="1" indent="-457200">
              <a:buFont typeface="Arial" panose="020B0604020202020204" pitchFamily="34" charset="0"/>
              <a:buChar char="•"/>
            </a:pPr>
            <a:r>
              <a:rPr lang="sk-SK" sz="2800" dirty="0" smtClean="0"/>
              <a:t>Povolené úpravy EN 16931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sk-SK" sz="2800" dirty="0" smtClean="0"/>
              <a:t>Ako čítať </a:t>
            </a:r>
            <a:r>
              <a:rPr lang="sk-SK" sz="2800" dirty="0" err="1" smtClean="0"/>
              <a:t>Peppol</a:t>
            </a:r>
            <a:r>
              <a:rPr lang="sk-SK" sz="2800" dirty="0" smtClean="0"/>
              <a:t> BIS špecifikáciu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sk-SK" sz="2800" dirty="0" smtClean="0"/>
              <a:t>Ako validovať faktúru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sk-SK" sz="2800" b="1" dirty="0" smtClean="0"/>
              <a:t>Ako začať s implementáciou v účtovných systémoch</a:t>
            </a:r>
          </a:p>
        </p:txBody>
      </p:sp>
      <p:sp>
        <p:nvSpPr>
          <p:cNvPr id="6" name="BlokTextu 5"/>
          <p:cNvSpPr txBox="1"/>
          <p:nvPr/>
        </p:nvSpPr>
        <p:spPr>
          <a:xfrm>
            <a:off x="821267" y="351367"/>
            <a:ext cx="9406466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k-SK" sz="2800" b="1" dirty="0" smtClean="0">
                <a:solidFill>
                  <a:schemeClr val="bg1">
                    <a:lumMod val="50000"/>
                  </a:schemeClr>
                </a:solidFill>
              </a:rPr>
              <a:t>Štartovací manuál k </a:t>
            </a:r>
            <a:r>
              <a:rPr lang="sk-SK" sz="2800" b="1" dirty="0" err="1" smtClean="0">
                <a:solidFill>
                  <a:schemeClr val="bg1">
                    <a:lumMod val="50000"/>
                  </a:schemeClr>
                </a:solidFill>
              </a:rPr>
              <a:t>Peppol</a:t>
            </a:r>
            <a:r>
              <a:rPr lang="sk-SK" sz="2800" b="1" dirty="0" smtClean="0">
                <a:solidFill>
                  <a:schemeClr val="bg1">
                    <a:lumMod val="50000"/>
                  </a:schemeClr>
                </a:solidFill>
              </a:rPr>
              <a:t> formátu </a:t>
            </a:r>
            <a:r>
              <a:rPr lang="sk-SK" sz="2800" dirty="0" smtClean="0">
                <a:solidFill>
                  <a:schemeClr val="bg1">
                    <a:lumMod val="50000"/>
                  </a:schemeClr>
                </a:solidFill>
              </a:rPr>
              <a:t>– vypracovaný na objednávku FR SR</a:t>
            </a:r>
            <a:endParaRPr lang="sk-SK" sz="28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7" name="BlokTextu 6"/>
          <p:cNvSpPr txBox="1"/>
          <p:nvPr/>
        </p:nvSpPr>
        <p:spPr>
          <a:xfrm>
            <a:off x="389466" y="6119016"/>
            <a:ext cx="434285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k-SK" dirty="0" err="1" smtClean="0"/>
              <a:t>Dvojklikni</a:t>
            </a:r>
            <a:r>
              <a:rPr lang="sk-SK" dirty="0" smtClean="0"/>
              <a:t> na dokument pre otvorenie</a:t>
            </a:r>
            <a:endParaRPr lang="sk-SK" dirty="0"/>
          </a:p>
        </p:txBody>
      </p:sp>
      <p:sp>
        <p:nvSpPr>
          <p:cNvPr id="2" name="Zástupný objekt pre číslo snímky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18927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rázok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917537" y="3186323"/>
            <a:ext cx="3977955" cy="544353"/>
          </a:xfrm>
          <a:prstGeom prst="rect">
            <a:avLst/>
          </a:prstGeom>
        </p:spPr>
      </p:pic>
      <p:sp>
        <p:nvSpPr>
          <p:cNvPr id="3" name="Zástupný objekt pre číslo snímky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23845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794766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2" name="think-cell Slide" r:id="rId76" imgW="360" imgH="360" progId="TCLayout.ActiveDocument.1">
                  <p:embed/>
                </p:oleObj>
              </mc:Choice>
              <mc:Fallback>
                <p:oleObj name="think-cell Slide" r:id="rId76" imgW="360" imgH="360" progId="TCLayout.ActiveDocument.1">
                  <p:embed/>
                  <p:pic>
                    <p:nvPicPr>
                      <p:cNvPr id="8" name="think-cell data - do not delete" hidden="1"/>
                      <p:cNvPicPr/>
                      <p:nvPr/>
                    </p:nvPicPr>
                    <p:blipFill>
                      <a:blip r:embed="rId7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6" name="Text Placeholder 2"/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2763838" y="1493838"/>
            <a:ext cx="2208213" cy="2603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6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7570B6FE-A55D-48DC-8493-B9159075BB6B}" type="datetime'''''''''''''''2''0''''''''''''''''''''2''5'''''">
              <a:rPr lang="sk-SK" altLang="en-US" sz="1400" b="1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</a:t>
            </a:fld>
            <a:endParaRPr lang="sk-SK" sz="1400" b="1" dirty="0"/>
          </a:p>
        </p:txBody>
      </p:sp>
      <p:sp>
        <p:nvSpPr>
          <p:cNvPr id="378" name="Text Placeholder 2"/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4972050" y="1493838"/>
            <a:ext cx="2208213" cy="2603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6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3D1D7530-35BE-4BE6-B0C3-F58E3A631F89}" type="datetime'''2''0''2''''''''''''''''''''''''''''''6'''''">
              <a:rPr lang="sk-SK" altLang="en-US" sz="1400" b="1" smtClean="0"/>
              <a:pPr/>
              <a:t>2026</a:t>
            </a:fld>
            <a:endParaRPr lang="sk-SK" sz="1400" b="1" dirty="0"/>
          </a:p>
        </p:txBody>
      </p:sp>
      <p:sp>
        <p:nvSpPr>
          <p:cNvPr id="379" name="Text Placeholder 2"/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7180262" y="1493838"/>
            <a:ext cx="1652588" cy="2603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6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924D99F0-7E1D-4F3A-8F41-E115723678F9}" type="datetime'2''''''''''''''''''''''''''''''0''''''27'''''''">
              <a:rPr lang="sk-SK" altLang="en-US" sz="1400" b="1" smtClean="0"/>
              <a:pPr/>
              <a:t>2027</a:t>
            </a:fld>
            <a:endParaRPr lang="sk-SK" sz="1400" b="1" dirty="0"/>
          </a:p>
        </p:txBody>
      </p:sp>
      <p:sp>
        <p:nvSpPr>
          <p:cNvPr id="382" name="Text Placeholder 2"/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2763838" y="1754188"/>
            <a:ext cx="544513" cy="2603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6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1C2296EA-6CD8-4B78-B4AB-396DE309F83A}" type="datetime'''''''''''''''''''''''''''Q''''''''''''''1'''''''''''''''">
              <a:rPr lang="sk-SK" altLang="en-US" sz="1400" b="1" smtClean="0"/>
              <a:pPr/>
              <a:t>Q1</a:t>
            </a:fld>
            <a:endParaRPr lang="sk-SK" sz="1400" b="1" dirty="0"/>
          </a:p>
        </p:txBody>
      </p:sp>
      <p:sp>
        <p:nvSpPr>
          <p:cNvPr id="351" name="Text Placeholder 2"/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3308350" y="1754188"/>
            <a:ext cx="550863" cy="2603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6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2909362D-F6AA-434A-9B6F-3AF2C035FEB1}" type="datetime'''''''Q''''''''''''2'''''''''''''''''''''''''''">
              <a:rPr lang="sk-SK" altLang="en-US" sz="1400" b="1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Q2</a:t>
            </a:fld>
            <a:endParaRPr lang="sk-SK" sz="1400" b="1" dirty="0"/>
          </a:p>
        </p:txBody>
      </p:sp>
      <p:sp>
        <p:nvSpPr>
          <p:cNvPr id="353" name="Text Placeholder 2"/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3859213" y="1754188"/>
            <a:ext cx="557213" cy="2603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6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09C1D2AA-B2D1-431C-93BC-A604E8F4564E}" type="datetime'''Q''3'''''''''''''''''''''">
              <a:rPr lang="sk-SK" altLang="en-US" sz="1400" b="1" smtClean="0"/>
              <a:pPr/>
              <a:t>Q3</a:t>
            </a:fld>
            <a:endParaRPr lang="sk-SK" sz="1400" b="1" dirty="0"/>
          </a:p>
        </p:txBody>
      </p:sp>
      <p:sp>
        <p:nvSpPr>
          <p:cNvPr id="354" name="Text Placeholder 2"/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4416425" y="1754188"/>
            <a:ext cx="555625" cy="2603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6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7618CC98-9F02-468E-B46A-DC2D6CDEDABD}" type="datetime'''''Q''''''''''''''''''''''''''4'''''''''">
              <a:rPr lang="sk-SK" altLang="en-US" sz="1400" b="1" smtClean="0"/>
              <a:pPr/>
              <a:t>Q4</a:t>
            </a:fld>
            <a:endParaRPr lang="sk-SK" sz="1400" b="1" dirty="0"/>
          </a:p>
        </p:txBody>
      </p:sp>
      <p:sp>
        <p:nvSpPr>
          <p:cNvPr id="355" name="Text Placeholder 2"/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4972050" y="1754188"/>
            <a:ext cx="544513" cy="2603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6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11004A77-8054-4D09-A859-EE5FB603CAFA}" type="datetime'''''''''''''''''''Q''''''''1'''''''''">
              <a:rPr lang="sk-SK" altLang="en-US" sz="1400" b="1" smtClean="0"/>
              <a:pPr/>
              <a:t>Q1</a:t>
            </a:fld>
            <a:endParaRPr lang="sk-SK" sz="1400" b="1" dirty="0"/>
          </a:p>
        </p:txBody>
      </p:sp>
      <p:sp>
        <p:nvSpPr>
          <p:cNvPr id="356" name="Text Placeholder 2"/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5516563" y="1754188"/>
            <a:ext cx="550863" cy="2603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6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82A3F35D-CC54-4EC6-B3D0-4E95103D76B9}" type="datetime'''''''''''''''''''''''''''Q''''''''''''''''2'''''''">
              <a:rPr lang="sk-SK" altLang="en-US" sz="1400" b="1" smtClean="0"/>
              <a:pPr/>
              <a:t>Q2</a:t>
            </a:fld>
            <a:endParaRPr lang="sk-SK" sz="1400" b="1" dirty="0"/>
          </a:p>
        </p:txBody>
      </p:sp>
      <p:sp>
        <p:nvSpPr>
          <p:cNvPr id="357" name="Text Placeholder 2"/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6067425" y="1754188"/>
            <a:ext cx="557213" cy="2603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6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3D0ED594-C410-4444-8CC0-F232DA92B13D}" type="datetime'''''''''''''''''''''''''''''''''Q''''''3'''''''''''''''''''">
              <a:rPr lang="sk-SK" altLang="en-US" sz="1400" b="1" smtClean="0"/>
              <a:pPr/>
              <a:t>Q3</a:t>
            </a:fld>
            <a:endParaRPr lang="sk-SK" sz="1400" b="1" dirty="0"/>
          </a:p>
        </p:txBody>
      </p:sp>
      <p:sp>
        <p:nvSpPr>
          <p:cNvPr id="358" name="Text Placeholder 2"/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6624638" y="1754188"/>
            <a:ext cx="555625" cy="2603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6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7ECF1214-E9A6-4B26-9842-5B9D7A07C1B8}" type="datetime'''''''''''''''''Q''''''''''4'''''''''''''''''''''">
              <a:rPr lang="sk-SK" altLang="en-US" sz="1400" b="1" smtClean="0"/>
              <a:pPr/>
              <a:t>Q4</a:t>
            </a:fld>
            <a:endParaRPr lang="sk-SK" sz="1400" b="1" dirty="0"/>
          </a:p>
        </p:txBody>
      </p:sp>
      <p:sp>
        <p:nvSpPr>
          <p:cNvPr id="359" name="Text Placeholder 2"/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7180263" y="1754188"/>
            <a:ext cx="544513" cy="2603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6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4A490848-9199-49BE-A568-2E1936929162}" type="datetime'''''''''Q''''1'''''">
              <a:rPr lang="sk-SK" altLang="en-US" sz="1400" b="1" smtClean="0"/>
              <a:pPr/>
              <a:t>Q1</a:t>
            </a:fld>
            <a:endParaRPr lang="sk-SK" sz="1400" b="1" dirty="0"/>
          </a:p>
        </p:txBody>
      </p:sp>
      <p:sp>
        <p:nvSpPr>
          <p:cNvPr id="360" name="Text Placeholder 2"/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7724775" y="1754188"/>
            <a:ext cx="550863" cy="2603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6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DCF33666-74C8-4456-87D2-E469BAB5F498}" type="datetime'''''''''''''''''''''Q''''''''''''''''2'''''''''''">
              <a:rPr lang="sk-SK" altLang="en-US" sz="1400" b="1" smtClean="0"/>
              <a:pPr/>
              <a:t>Q2</a:t>
            </a:fld>
            <a:endParaRPr lang="sk-SK" sz="1400" b="1" dirty="0"/>
          </a:p>
        </p:txBody>
      </p:sp>
      <p:sp>
        <p:nvSpPr>
          <p:cNvPr id="361" name="Text Placeholder 2"/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8275638" y="1754188"/>
            <a:ext cx="557213" cy="2603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6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5E4F5D70-5B41-475D-B57C-C525427A6F42}" type="datetime'''''''''''''''''Q3'''''''''">
              <a:rPr lang="sk-SK" altLang="en-US" sz="1400" b="1" smtClean="0"/>
              <a:pPr/>
              <a:t>Q3</a:t>
            </a:fld>
            <a:endParaRPr lang="sk-SK" sz="1400" b="1" dirty="0"/>
          </a:p>
        </p:txBody>
      </p:sp>
      <p:cxnSp>
        <p:nvCxnSpPr>
          <p:cNvPr id="369" name="Rovná spojnica 368"/>
          <p:cNvCxnSpPr/>
          <p:nvPr>
            <p:custDataLst>
              <p:tags r:id="rId17"/>
            </p:custDataLst>
          </p:nvPr>
        </p:nvCxnSpPr>
        <p:spPr bwMode="auto">
          <a:xfrm>
            <a:off x="7180263" y="2014538"/>
            <a:ext cx="0" cy="3309938"/>
          </a:xfrm>
          <a:prstGeom prst="line">
            <a:avLst/>
          </a:prstGeom>
          <a:ln w="3175" cap="rnd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68" name="Rovná spojnica 367"/>
          <p:cNvCxnSpPr/>
          <p:nvPr>
            <p:custDataLst>
              <p:tags r:id="rId18"/>
            </p:custDataLst>
          </p:nvPr>
        </p:nvCxnSpPr>
        <p:spPr bwMode="auto">
          <a:xfrm>
            <a:off x="6624638" y="2014538"/>
            <a:ext cx="0" cy="3309938"/>
          </a:xfrm>
          <a:prstGeom prst="line">
            <a:avLst/>
          </a:prstGeom>
          <a:ln w="3175" cap="rnd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67" name="Rovná spojnica 366"/>
          <p:cNvCxnSpPr/>
          <p:nvPr>
            <p:custDataLst>
              <p:tags r:id="rId19"/>
            </p:custDataLst>
          </p:nvPr>
        </p:nvCxnSpPr>
        <p:spPr bwMode="auto">
          <a:xfrm>
            <a:off x="6067425" y="2014538"/>
            <a:ext cx="0" cy="3309938"/>
          </a:xfrm>
          <a:prstGeom prst="line">
            <a:avLst/>
          </a:prstGeom>
          <a:ln w="3175" cap="rnd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66" name="Rovná spojnica 365"/>
          <p:cNvCxnSpPr/>
          <p:nvPr>
            <p:custDataLst>
              <p:tags r:id="rId20"/>
            </p:custDataLst>
          </p:nvPr>
        </p:nvCxnSpPr>
        <p:spPr bwMode="auto">
          <a:xfrm>
            <a:off x="5516563" y="2014538"/>
            <a:ext cx="0" cy="3309938"/>
          </a:xfrm>
          <a:prstGeom prst="line">
            <a:avLst/>
          </a:prstGeom>
          <a:ln w="3175" cap="rnd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65" name="Rovná spojnica 364"/>
          <p:cNvCxnSpPr/>
          <p:nvPr>
            <p:custDataLst>
              <p:tags r:id="rId21"/>
            </p:custDataLst>
          </p:nvPr>
        </p:nvCxnSpPr>
        <p:spPr bwMode="auto">
          <a:xfrm>
            <a:off x="4972050" y="2014538"/>
            <a:ext cx="0" cy="3309938"/>
          </a:xfrm>
          <a:prstGeom prst="line">
            <a:avLst/>
          </a:prstGeom>
          <a:ln w="3175" cap="rnd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64" name="Rovná spojnica 363"/>
          <p:cNvCxnSpPr/>
          <p:nvPr>
            <p:custDataLst>
              <p:tags r:id="rId22"/>
            </p:custDataLst>
          </p:nvPr>
        </p:nvCxnSpPr>
        <p:spPr bwMode="auto">
          <a:xfrm>
            <a:off x="4416425" y="2014538"/>
            <a:ext cx="0" cy="3309938"/>
          </a:xfrm>
          <a:prstGeom prst="line">
            <a:avLst/>
          </a:prstGeom>
          <a:ln w="3175" cap="rnd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63" name="Rovná spojnica 362"/>
          <p:cNvCxnSpPr/>
          <p:nvPr>
            <p:custDataLst>
              <p:tags r:id="rId23"/>
            </p:custDataLst>
          </p:nvPr>
        </p:nvCxnSpPr>
        <p:spPr bwMode="auto">
          <a:xfrm>
            <a:off x="3859213" y="2014538"/>
            <a:ext cx="0" cy="3309938"/>
          </a:xfrm>
          <a:prstGeom prst="line">
            <a:avLst/>
          </a:prstGeom>
          <a:ln w="3175" cap="rnd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62" name="Rovná spojnica 361"/>
          <p:cNvCxnSpPr/>
          <p:nvPr>
            <p:custDataLst>
              <p:tags r:id="rId24"/>
            </p:custDataLst>
          </p:nvPr>
        </p:nvCxnSpPr>
        <p:spPr bwMode="auto">
          <a:xfrm>
            <a:off x="3308350" y="2014538"/>
            <a:ext cx="0" cy="3309938"/>
          </a:xfrm>
          <a:prstGeom prst="line">
            <a:avLst/>
          </a:prstGeom>
          <a:ln w="3175" cap="rnd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87" name="Rovná spojnica 386"/>
          <p:cNvCxnSpPr/>
          <p:nvPr>
            <p:custDataLst>
              <p:tags r:id="rId25"/>
            </p:custDataLst>
          </p:nvPr>
        </p:nvCxnSpPr>
        <p:spPr bwMode="auto">
          <a:xfrm>
            <a:off x="10815638" y="2014538"/>
            <a:ext cx="0" cy="3309937"/>
          </a:xfrm>
          <a:prstGeom prst="line">
            <a:avLst/>
          </a:prstGeom>
          <a:ln w="9525" cap="rnd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3" name="Rovná spojnica 62"/>
          <p:cNvCxnSpPr/>
          <p:nvPr>
            <p:custDataLst>
              <p:tags r:id="rId26"/>
            </p:custDataLst>
          </p:nvPr>
        </p:nvCxnSpPr>
        <p:spPr bwMode="auto">
          <a:xfrm>
            <a:off x="655638" y="2014538"/>
            <a:ext cx="0" cy="3309938"/>
          </a:xfrm>
          <a:prstGeom prst="line">
            <a:avLst/>
          </a:prstGeom>
          <a:ln w="9525" cap="rnd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2" name="Rovná spojnica 61"/>
          <p:cNvCxnSpPr/>
          <p:nvPr>
            <p:custDataLst>
              <p:tags r:id="rId27"/>
            </p:custDataLst>
          </p:nvPr>
        </p:nvCxnSpPr>
        <p:spPr bwMode="auto">
          <a:xfrm>
            <a:off x="8832850" y="2014538"/>
            <a:ext cx="0" cy="3309938"/>
          </a:xfrm>
          <a:prstGeom prst="line">
            <a:avLst/>
          </a:prstGeom>
          <a:ln w="9525" cap="rnd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1" name="Rovná spojnica 60"/>
          <p:cNvCxnSpPr/>
          <p:nvPr>
            <p:custDataLst>
              <p:tags r:id="rId28"/>
            </p:custDataLst>
          </p:nvPr>
        </p:nvCxnSpPr>
        <p:spPr bwMode="auto">
          <a:xfrm>
            <a:off x="2763838" y="2014538"/>
            <a:ext cx="0" cy="3309938"/>
          </a:xfrm>
          <a:prstGeom prst="line">
            <a:avLst/>
          </a:prstGeom>
          <a:ln w="9525" cap="rnd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84" name="Rovná spojnica 383"/>
          <p:cNvCxnSpPr/>
          <p:nvPr>
            <p:custDataLst>
              <p:tags r:id="rId29"/>
            </p:custDataLst>
          </p:nvPr>
        </p:nvCxnSpPr>
        <p:spPr bwMode="auto">
          <a:xfrm>
            <a:off x="8275638" y="2014538"/>
            <a:ext cx="0" cy="3309937"/>
          </a:xfrm>
          <a:prstGeom prst="line">
            <a:avLst/>
          </a:prstGeom>
          <a:ln w="3175" cap="rnd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70" name="Rovná spojnica 369"/>
          <p:cNvCxnSpPr/>
          <p:nvPr>
            <p:custDataLst>
              <p:tags r:id="rId30"/>
            </p:custDataLst>
          </p:nvPr>
        </p:nvCxnSpPr>
        <p:spPr bwMode="auto">
          <a:xfrm>
            <a:off x="7724775" y="2014538"/>
            <a:ext cx="0" cy="3309938"/>
          </a:xfrm>
          <a:prstGeom prst="line">
            <a:avLst/>
          </a:prstGeom>
          <a:ln w="3175" cap="rnd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60" name="Rovná spojnica 459"/>
          <p:cNvCxnSpPr/>
          <p:nvPr>
            <p:custDataLst>
              <p:tags r:id="rId31"/>
            </p:custDataLst>
          </p:nvPr>
        </p:nvCxnSpPr>
        <p:spPr bwMode="auto">
          <a:xfrm>
            <a:off x="655638" y="4525963"/>
            <a:ext cx="10160000" cy="0"/>
          </a:xfrm>
          <a:prstGeom prst="line">
            <a:avLst/>
          </a:prstGeom>
          <a:ln w="3175" cap="rnd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57" name="Rovná spojnica 456"/>
          <p:cNvCxnSpPr/>
          <p:nvPr>
            <p:custDataLst>
              <p:tags r:id="rId32"/>
            </p:custDataLst>
          </p:nvPr>
        </p:nvCxnSpPr>
        <p:spPr bwMode="auto">
          <a:xfrm>
            <a:off x="655638" y="3824288"/>
            <a:ext cx="10160000" cy="0"/>
          </a:xfrm>
          <a:prstGeom prst="line">
            <a:avLst/>
          </a:prstGeom>
          <a:ln w="3175" cap="rnd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58" name="Rovná spojnica 457"/>
          <p:cNvCxnSpPr/>
          <p:nvPr>
            <p:custDataLst>
              <p:tags r:id="rId33"/>
            </p:custDataLst>
          </p:nvPr>
        </p:nvCxnSpPr>
        <p:spPr bwMode="auto">
          <a:xfrm>
            <a:off x="655638" y="2566988"/>
            <a:ext cx="10160000" cy="0"/>
          </a:xfrm>
          <a:prstGeom prst="line">
            <a:avLst/>
          </a:prstGeom>
          <a:ln w="3175" cap="rnd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59" name="Rovná spojnica 458"/>
          <p:cNvCxnSpPr/>
          <p:nvPr>
            <p:custDataLst>
              <p:tags r:id="rId34"/>
            </p:custDataLst>
          </p:nvPr>
        </p:nvCxnSpPr>
        <p:spPr bwMode="auto">
          <a:xfrm>
            <a:off x="655638" y="3121025"/>
            <a:ext cx="10160000" cy="0"/>
          </a:xfrm>
          <a:prstGeom prst="line">
            <a:avLst/>
          </a:prstGeom>
          <a:ln w="3175" cap="rnd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5" name="Rovná spojnica 64"/>
          <p:cNvCxnSpPr/>
          <p:nvPr>
            <p:custDataLst>
              <p:tags r:id="rId35"/>
            </p:custDataLst>
          </p:nvPr>
        </p:nvCxnSpPr>
        <p:spPr bwMode="auto">
          <a:xfrm>
            <a:off x="655638" y="5324475"/>
            <a:ext cx="10160000" cy="0"/>
          </a:xfrm>
          <a:prstGeom prst="line">
            <a:avLst/>
          </a:prstGeom>
          <a:ln w="9525" cap="rnd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1" name="Rovná spojnica 40"/>
          <p:cNvCxnSpPr/>
          <p:nvPr>
            <p:custDataLst>
              <p:tags r:id="rId36"/>
            </p:custDataLst>
          </p:nvPr>
        </p:nvCxnSpPr>
        <p:spPr bwMode="auto">
          <a:xfrm>
            <a:off x="3357563" y="2014538"/>
            <a:ext cx="0" cy="3473450"/>
          </a:xfrm>
          <a:prstGeom prst="line">
            <a:avLst/>
          </a:prstGeom>
          <a:ln w="19050" cap="rnd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4" name="Rovná spojnica 63"/>
          <p:cNvCxnSpPr/>
          <p:nvPr>
            <p:custDataLst>
              <p:tags r:id="rId37"/>
            </p:custDataLst>
          </p:nvPr>
        </p:nvCxnSpPr>
        <p:spPr bwMode="auto">
          <a:xfrm>
            <a:off x="655638" y="2014538"/>
            <a:ext cx="10160000" cy="0"/>
          </a:xfrm>
          <a:prstGeom prst="line">
            <a:avLst/>
          </a:prstGeom>
          <a:ln w="9525" cap="rnd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41" name="Obdĺžnik 440"/>
          <p:cNvSpPr/>
          <p:nvPr>
            <p:custDataLst>
              <p:tags r:id="rId38"/>
            </p:custDataLst>
          </p:nvPr>
        </p:nvSpPr>
        <p:spPr bwMode="auto">
          <a:xfrm>
            <a:off x="5081587" y="4622800"/>
            <a:ext cx="1646238" cy="98425"/>
          </a:xfrm>
          <a:prstGeom prst="rect">
            <a:avLst/>
          </a:prstGeom>
          <a:solidFill>
            <a:srgbClr val="4C6C9C"/>
          </a:solidFill>
          <a:ln w="19050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9050" cap="rnd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k-SK"/>
          </a:p>
        </p:txBody>
      </p:sp>
      <p:sp>
        <p:nvSpPr>
          <p:cNvPr id="424" name="Obdĺžnik 423"/>
          <p:cNvSpPr/>
          <p:nvPr>
            <p:custDataLst>
              <p:tags r:id="rId39"/>
            </p:custDataLst>
          </p:nvPr>
        </p:nvSpPr>
        <p:spPr bwMode="auto">
          <a:xfrm>
            <a:off x="5081588" y="3217863"/>
            <a:ext cx="1603375" cy="98425"/>
          </a:xfrm>
          <a:prstGeom prst="rect">
            <a:avLst/>
          </a:prstGeom>
          <a:solidFill>
            <a:schemeClr val="accent5"/>
          </a:solidFill>
          <a:ln w="19050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9050" cap="rnd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k-SK"/>
          </a:p>
        </p:txBody>
      </p:sp>
      <p:sp>
        <p:nvSpPr>
          <p:cNvPr id="413" name="Obdĺžnik 412"/>
          <p:cNvSpPr/>
          <p:nvPr>
            <p:custDataLst>
              <p:tags r:id="rId40"/>
            </p:custDataLst>
          </p:nvPr>
        </p:nvSpPr>
        <p:spPr bwMode="auto">
          <a:xfrm>
            <a:off x="5081587" y="3919538"/>
            <a:ext cx="1646238" cy="98425"/>
          </a:xfrm>
          <a:prstGeom prst="rect">
            <a:avLst/>
          </a:prstGeom>
          <a:solidFill>
            <a:schemeClr val="accent2"/>
          </a:solidFill>
          <a:ln w="19050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9050" cap="rnd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k-SK"/>
          </a:p>
        </p:txBody>
      </p:sp>
      <p:sp>
        <p:nvSpPr>
          <p:cNvPr id="436" name="Obdĺžnik 435"/>
          <p:cNvSpPr/>
          <p:nvPr>
            <p:custDataLst>
              <p:tags r:id="rId41"/>
            </p:custDataLst>
          </p:nvPr>
        </p:nvSpPr>
        <p:spPr bwMode="auto">
          <a:xfrm>
            <a:off x="3260724" y="4622800"/>
            <a:ext cx="1644650" cy="98425"/>
          </a:xfrm>
          <a:prstGeom prst="rect">
            <a:avLst/>
          </a:prstGeom>
          <a:solidFill>
            <a:srgbClr val="4C6C9C"/>
          </a:solidFill>
          <a:ln w="19050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9050" cap="rnd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k-SK"/>
          </a:p>
        </p:txBody>
      </p:sp>
      <p:sp>
        <p:nvSpPr>
          <p:cNvPr id="404" name="Šípka doľava 403"/>
          <p:cNvSpPr/>
          <p:nvPr>
            <p:custDataLst>
              <p:tags r:id="rId42"/>
            </p:custDataLst>
          </p:nvPr>
        </p:nvSpPr>
        <p:spPr bwMode="auto">
          <a:xfrm>
            <a:off x="2647949" y="2060575"/>
            <a:ext cx="2324100" cy="196850"/>
          </a:xfrm>
          <a:prstGeom prst="leftArrow">
            <a:avLst>
              <a:gd name="adj1" fmla="val 50000"/>
              <a:gd name="adj2" fmla="val 40660"/>
            </a:avLst>
          </a:prstGeom>
          <a:solidFill>
            <a:srgbClr val="9DB1CF"/>
          </a:solidFill>
          <a:ln w="19050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9050" cap="rnd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k-SK"/>
          </a:p>
        </p:txBody>
      </p:sp>
      <p:sp>
        <p:nvSpPr>
          <p:cNvPr id="412" name="Obdĺžnik 411"/>
          <p:cNvSpPr/>
          <p:nvPr>
            <p:custDataLst>
              <p:tags r:id="rId43"/>
            </p:custDataLst>
          </p:nvPr>
        </p:nvSpPr>
        <p:spPr bwMode="auto">
          <a:xfrm>
            <a:off x="3260724" y="3919538"/>
            <a:ext cx="1651000" cy="98425"/>
          </a:xfrm>
          <a:prstGeom prst="rect">
            <a:avLst/>
          </a:prstGeom>
          <a:solidFill>
            <a:schemeClr val="accent2"/>
          </a:solidFill>
          <a:ln w="19050" cap="rnd" cmpd="sng" algn="ctr">
            <a:noFill/>
            <a:prstDash val="dash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9050" cap="rnd" cmpd="sng" algn="ctr">
                <a:solidFill>
                  <a:srgbClr val="9DB1CF"/>
                </a:solidFill>
                <a:prstDash val="dash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k-SK"/>
          </a:p>
        </p:txBody>
      </p:sp>
      <p:sp>
        <p:nvSpPr>
          <p:cNvPr id="423" name="Obdĺžnik 422"/>
          <p:cNvSpPr/>
          <p:nvPr>
            <p:custDataLst>
              <p:tags r:id="rId44"/>
            </p:custDataLst>
          </p:nvPr>
        </p:nvSpPr>
        <p:spPr bwMode="auto">
          <a:xfrm>
            <a:off x="3217863" y="3217863"/>
            <a:ext cx="1693863" cy="98425"/>
          </a:xfrm>
          <a:prstGeom prst="rect">
            <a:avLst/>
          </a:prstGeom>
          <a:solidFill>
            <a:schemeClr val="accent5"/>
          </a:solidFill>
          <a:ln w="19050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9050" cap="rnd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k-SK"/>
          </a:p>
        </p:txBody>
      </p:sp>
      <p:sp>
        <p:nvSpPr>
          <p:cNvPr id="410" name="Šípka doľava 409"/>
          <p:cNvSpPr/>
          <p:nvPr>
            <p:custDataLst>
              <p:tags r:id="rId45"/>
            </p:custDataLst>
          </p:nvPr>
        </p:nvSpPr>
        <p:spPr bwMode="auto">
          <a:xfrm>
            <a:off x="2647950" y="2614613"/>
            <a:ext cx="1204913" cy="196850"/>
          </a:xfrm>
          <a:prstGeom prst="leftArrow">
            <a:avLst>
              <a:gd name="adj1" fmla="val 50000"/>
              <a:gd name="adj2" fmla="val 40660"/>
            </a:avLst>
          </a:prstGeom>
          <a:solidFill>
            <a:schemeClr val="folHlink"/>
          </a:solidFill>
          <a:ln w="19050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9050" cap="rnd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k-SK"/>
          </a:p>
        </p:txBody>
      </p:sp>
      <p:sp>
        <p:nvSpPr>
          <p:cNvPr id="432" name="Obdĺžnik 431"/>
          <p:cNvSpPr/>
          <p:nvPr>
            <p:custDataLst>
              <p:tags r:id="rId46"/>
            </p:custDataLst>
          </p:nvPr>
        </p:nvSpPr>
        <p:spPr bwMode="auto">
          <a:xfrm>
            <a:off x="6684963" y="3227388"/>
            <a:ext cx="1590675" cy="79375"/>
          </a:xfrm>
          <a:prstGeom prst="rect">
            <a:avLst/>
          </a:prstGeom>
          <a:solidFill>
            <a:schemeClr val="bg1"/>
          </a:solidFill>
          <a:ln w="19050" cap="rnd" cmpd="sng" algn="ctr">
            <a:solidFill>
              <a:schemeClr val="accent5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k-SK"/>
          </a:p>
        </p:txBody>
      </p:sp>
      <p:sp>
        <p:nvSpPr>
          <p:cNvPr id="445" name="Obdĺžnik 444"/>
          <p:cNvSpPr/>
          <p:nvPr>
            <p:custDataLst>
              <p:tags r:id="rId47"/>
            </p:custDataLst>
          </p:nvPr>
        </p:nvSpPr>
        <p:spPr bwMode="auto">
          <a:xfrm>
            <a:off x="6732588" y="4632325"/>
            <a:ext cx="1543050" cy="79375"/>
          </a:xfrm>
          <a:prstGeom prst="rect">
            <a:avLst/>
          </a:prstGeom>
          <a:solidFill>
            <a:schemeClr val="bg1"/>
          </a:solidFill>
          <a:ln w="19050" cap="rnd" cmpd="sng" algn="ctr">
            <a:solidFill>
              <a:srgbClr val="4C6C9C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k-SK"/>
          </a:p>
        </p:txBody>
      </p:sp>
      <p:sp>
        <p:nvSpPr>
          <p:cNvPr id="420" name="Obdĺžnik 419"/>
          <p:cNvSpPr/>
          <p:nvPr>
            <p:custDataLst>
              <p:tags r:id="rId48"/>
            </p:custDataLst>
          </p:nvPr>
        </p:nvSpPr>
        <p:spPr bwMode="auto">
          <a:xfrm>
            <a:off x="6727825" y="3929063"/>
            <a:ext cx="1547813" cy="79375"/>
          </a:xfrm>
          <a:prstGeom prst="rect">
            <a:avLst/>
          </a:prstGeom>
          <a:solidFill>
            <a:schemeClr val="bg1"/>
          </a:solidFill>
          <a:ln w="19050" cap="rnd" cmpd="sng" algn="ctr">
            <a:solidFill>
              <a:schemeClr val="accent4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k-SK"/>
          </a:p>
        </p:txBody>
      </p:sp>
      <p:sp>
        <p:nvSpPr>
          <p:cNvPr id="411" name="Obdĺžnik 410"/>
          <p:cNvSpPr/>
          <p:nvPr>
            <p:custDataLst>
              <p:tags r:id="rId49"/>
            </p:custDataLst>
          </p:nvPr>
        </p:nvSpPr>
        <p:spPr bwMode="auto">
          <a:xfrm>
            <a:off x="3852863" y="2673350"/>
            <a:ext cx="1058863" cy="79375"/>
          </a:xfrm>
          <a:prstGeom prst="rect">
            <a:avLst/>
          </a:prstGeom>
          <a:solidFill>
            <a:schemeClr val="bg1"/>
          </a:solidFill>
          <a:ln w="19050" cap="rnd" cmpd="sng" algn="ctr">
            <a:solidFill>
              <a:schemeClr val="folHlink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k-SK"/>
          </a:p>
        </p:txBody>
      </p:sp>
      <p:sp>
        <p:nvSpPr>
          <p:cNvPr id="399" name="Kosoštvorec 398"/>
          <p:cNvSpPr/>
          <p:nvPr>
            <p:custDataLst>
              <p:tags r:id="rId50"/>
            </p:custDataLst>
          </p:nvPr>
        </p:nvSpPr>
        <p:spPr bwMode="gray">
          <a:xfrm>
            <a:off x="7123113" y="2101850"/>
            <a:ext cx="114300" cy="114300"/>
          </a:xfrm>
          <a:prstGeom prst="diamond">
            <a:avLst/>
          </a:prstGeom>
          <a:solidFill>
            <a:schemeClr val="accent1"/>
          </a:solidFill>
          <a:ln w="9525" cap="rnd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k-SK"/>
          </a:p>
        </p:txBody>
      </p:sp>
      <p:sp>
        <p:nvSpPr>
          <p:cNvPr id="3" name="Rovnoramenný trojuholník 2"/>
          <p:cNvSpPr/>
          <p:nvPr>
            <p:custDataLst>
              <p:tags r:id="rId51"/>
            </p:custDataLst>
          </p:nvPr>
        </p:nvSpPr>
        <p:spPr bwMode="gray">
          <a:xfrm>
            <a:off x="3300413" y="5430838"/>
            <a:ext cx="114300" cy="114300"/>
          </a:xfrm>
          <a:prstGeom prst="triangle">
            <a:avLst/>
          </a:prstGeom>
          <a:solidFill>
            <a:schemeClr val="tx1"/>
          </a:solidFill>
          <a:ln w="9525" cap="rnd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k-SK"/>
          </a:p>
        </p:txBody>
      </p:sp>
      <p:sp>
        <p:nvSpPr>
          <p:cNvPr id="392" name="Kosoštvorec 391"/>
          <p:cNvSpPr/>
          <p:nvPr>
            <p:custDataLst>
              <p:tags r:id="rId52"/>
            </p:custDataLst>
          </p:nvPr>
        </p:nvSpPr>
        <p:spPr bwMode="gray">
          <a:xfrm>
            <a:off x="4914900" y="2101850"/>
            <a:ext cx="114300" cy="114300"/>
          </a:xfrm>
          <a:prstGeom prst="diamond">
            <a:avLst/>
          </a:prstGeom>
          <a:solidFill>
            <a:schemeClr val="accent1"/>
          </a:solidFill>
          <a:ln w="9525" cap="rnd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k-SK"/>
          </a:p>
        </p:txBody>
      </p:sp>
      <p:sp>
        <p:nvSpPr>
          <p:cNvPr id="9" name="Text Placeholder 2"/>
          <p:cNvSpPr>
            <a:spLocks noGrp="1"/>
          </p:cNvSpPr>
          <p:nvPr>
            <p:custDataLst>
              <p:tags r:id="rId53"/>
            </p:custDataLst>
          </p:nvPr>
        </p:nvSpPr>
        <p:spPr bwMode="auto">
          <a:xfrm>
            <a:off x="727074" y="3154363"/>
            <a:ext cx="1703388" cy="609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6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sk-SK" altLang="en-US" sz="1600" dirty="0" smtClean="0"/>
              <a:t>APV </a:t>
            </a:r>
            <a:r>
              <a:rPr lang="sk-SK" altLang="en-US" sz="1600" dirty="0" err="1" smtClean="0"/>
              <a:t>Peppol</a:t>
            </a:r>
            <a:r>
              <a:rPr lang="sk-SK" altLang="en-US" sz="1600" dirty="0" smtClean="0"/>
              <a:t> </a:t>
            </a:r>
            <a:r>
              <a:rPr lang="sk-SK" altLang="en-US" sz="1600" b="1" dirty="0" smtClean="0"/>
              <a:t>verejnosť</a:t>
            </a:r>
          </a:p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sk-SK" sz="1200" dirty="0" smtClean="0"/>
              <a:t>(Poskytovatelia prístupu</a:t>
            </a:r>
          </a:p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sk-SK" sz="1200" dirty="0" smtClean="0"/>
              <a:t>k sieti </a:t>
            </a:r>
            <a:r>
              <a:rPr lang="sk-SK" sz="1200" dirty="0" err="1" smtClean="0"/>
              <a:t>Peppol</a:t>
            </a:r>
            <a:r>
              <a:rPr lang="sk-SK" sz="1200" dirty="0" smtClean="0"/>
              <a:t>)</a:t>
            </a:r>
            <a:endParaRPr lang="sk-SK" sz="1200" dirty="0"/>
          </a:p>
        </p:txBody>
      </p:sp>
      <p:sp useBgFill="1">
        <p:nvSpPr>
          <p:cNvPr id="430" name="Text Placeholder 2"/>
          <p:cNvSpPr>
            <a:spLocks noGrp="1"/>
          </p:cNvSpPr>
          <p:nvPr>
            <p:custDataLst>
              <p:tags r:id="rId54"/>
            </p:custDataLst>
          </p:nvPr>
        </p:nvSpPr>
        <p:spPr bwMode="auto">
          <a:xfrm>
            <a:off x="6711950" y="3333750"/>
            <a:ext cx="1855788" cy="212725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6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sk-SK" altLang="en-US" sz="1400" dirty="0" err="1" smtClean="0"/>
              <a:t>Onboarding</a:t>
            </a:r>
            <a:r>
              <a:rPr lang="sk-SK" altLang="en-US" sz="1400" dirty="0" smtClean="0"/>
              <a:t> / Pilot/Spustenie</a:t>
            </a:r>
            <a:endParaRPr lang="sk-SK" sz="1400" dirty="0"/>
          </a:p>
        </p:txBody>
      </p:sp>
      <p:sp useBgFill="1">
        <p:nvSpPr>
          <p:cNvPr id="428" name="Text Placeholder 2"/>
          <p:cNvSpPr>
            <a:spLocks noGrp="1"/>
          </p:cNvSpPr>
          <p:nvPr>
            <p:custDataLst>
              <p:tags r:id="rId55"/>
            </p:custDataLst>
          </p:nvPr>
        </p:nvSpPr>
        <p:spPr bwMode="auto">
          <a:xfrm>
            <a:off x="4864100" y="3333750"/>
            <a:ext cx="1776413" cy="212725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6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sk-SK" altLang="en-US" sz="1400" dirty="0" smtClean="0"/>
              <a:t>Certifikácia a testovanie AP</a:t>
            </a:r>
            <a:endParaRPr lang="sk-SK" sz="1400" dirty="0"/>
          </a:p>
        </p:txBody>
      </p:sp>
      <p:sp>
        <p:nvSpPr>
          <p:cNvPr id="40" name="Text Placeholder 2"/>
          <p:cNvSpPr>
            <a:spLocks noGrp="1"/>
          </p:cNvSpPr>
          <p:nvPr>
            <p:custDataLst>
              <p:tags r:id="rId56"/>
            </p:custDataLst>
          </p:nvPr>
        </p:nvSpPr>
        <p:spPr bwMode="auto">
          <a:xfrm>
            <a:off x="3032125" y="5567364"/>
            <a:ext cx="6508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6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E5F75E96-0FA1-42FE-87F0-89BA1B3B7AED}" type="datetime'9''''''''''.'' ''''4''.'''''' 2''''02''''''''''''''''5'''''''">
              <a:rPr lang="sk-SK" altLang="en-US" sz="1400" smtClean="0"/>
              <a:pPr/>
              <a:t>9. 4. 2025</a:t>
            </a:fld>
            <a:endParaRPr lang="sk-SK" sz="1400" dirty="0"/>
          </a:p>
        </p:txBody>
      </p:sp>
      <p:sp useBgFill="1">
        <p:nvSpPr>
          <p:cNvPr id="426" name="Text Placeholder 2"/>
          <p:cNvSpPr>
            <a:spLocks noGrp="1"/>
          </p:cNvSpPr>
          <p:nvPr>
            <p:custDataLst>
              <p:tags r:id="rId57"/>
            </p:custDataLst>
          </p:nvPr>
        </p:nvSpPr>
        <p:spPr bwMode="auto">
          <a:xfrm>
            <a:off x="3017838" y="3333750"/>
            <a:ext cx="1774825" cy="425450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6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sk-SK" altLang="en-US" sz="1400" dirty="0" smtClean="0"/>
              <a:t>Vývoj/Úprava </a:t>
            </a:r>
            <a:r>
              <a:rPr lang="sk-SK" altLang="en-US" sz="1400" dirty="0" err="1" smtClean="0"/>
              <a:t>Open-Source</a:t>
            </a:r>
            <a:endParaRPr lang="sk-SK" altLang="en-US" sz="1400" dirty="0" smtClean="0"/>
          </a:p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sk-SK" altLang="en-US" sz="1400" dirty="0" smtClean="0"/>
              <a:t> Access Point SW (C2/3)</a:t>
            </a:r>
            <a:endParaRPr lang="sk-SK" sz="1400" dirty="0"/>
          </a:p>
        </p:txBody>
      </p:sp>
      <p:sp>
        <p:nvSpPr>
          <p:cNvPr id="6" name="Text Placeholder 2"/>
          <p:cNvSpPr>
            <a:spLocks noGrp="1"/>
          </p:cNvSpPr>
          <p:nvPr>
            <p:custDataLst>
              <p:tags r:id="rId58"/>
            </p:custDataLst>
          </p:nvPr>
        </p:nvSpPr>
        <p:spPr bwMode="auto">
          <a:xfrm>
            <a:off x="727075" y="2600325"/>
            <a:ext cx="1476375" cy="488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6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sk-SK" altLang="en-US" sz="1600" dirty="0" err="1" smtClean="0"/>
              <a:t>Peppol</a:t>
            </a:r>
            <a:r>
              <a:rPr lang="sk-SK" altLang="en-US" sz="1600" dirty="0" smtClean="0"/>
              <a:t> Akreditačná </a:t>
            </a:r>
          </a:p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sk-SK" altLang="en-US" sz="1600" dirty="0" smtClean="0"/>
              <a:t>schéma </a:t>
            </a:r>
            <a:r>
              <a:rPr lang="sk-SK" altLang="en-US" sz="1600" b="1" dirty="0" smtClean="0"/>
              <a:t>štát</a:t>
            </a:r>
            <a:endParaRPr lang="sk-SK" sz="1600" b="1" dirty="0"/>
          </a:p>
        </p:txBody>
      </p:sp>
      <p:sp useBgFill="1">
        <p:nvSpPr>
          <p:cNvPr id="390" name="Text Placeholder 2"/>
          <p:cNvSpPr>
            <a:spLocks noGrp="1"/>
          </p:cNvSpPr>
          <p:nvPr>
            <p:custDataLst>
              <p:tags r:id="rId59"/>
            </p:custDataLst>
          </p:nvPr>
        </p:nvSpPr>
        <p:spPr bwMode="auto">
          <a:xfrm>
            <a:off x="4356100" y="2238375"/>
            <a:ext cx="1231900" cy="212725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6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92D4116E-30A3-4D14-9AAD-FF1762731C1C}" type="datetime'''''1''.'''''''''''''' 1.'''''' ''''2''0''''''''''2''6'''''">
              <a:rPr lang="sk-SK" altLang="en-US" sz="1400" smtClean="0"/>
              <a:pPr/>
              <a:t>1. 1. 2026</a:t>
            </a:fld>
            <a:r>
              <a:rPr lang="sk-SK" altLang="en-US" sz="1400" dirty="0" smtClean="0"/>
              <a:t> Platnosť</a:t>
            </a:r>
            <a:endParaRPr lang="sk-SK" sz="1400" dirty="0"/>
          </a:p>
        </p:txBody>
      </p:sp>
      <p:sp useBgFill="1">
        <p:nvSpPr>
          <p:cNvPr id="397" name="Text Placeholder 2"/>
          <p:cNvSpPr>
            <a:spLocks noGrp="1"/>
          </p:cNvSpPr>
          <p:nvPr>
            <p:custDataLst>
              <p:tags r:id="rId60"/>
            </p:custDataLst>
          </p:nvPr>
        </p:nvSpPr>
        <p:spPr bwMode="auto">
          <a:xfrm>
            <a:off x="6545263" y="2238375"/>
            <a:ext cx="1271588" cy="212725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6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97024C49-21BF-47EE-94E9-D57E3B55E6DD}" type="datetime'''''''''''''''''''''1.'''''''''''''' 1''.'''' 202''''7'''">
              <a:rPr lang="sk-SK" altLang="en-US" sz="1400" smtClean="0"/>
              <a:pPr/>
              <a:t>1. 1. 2027</a:t>
            </a:fld>
            <a:r>
              <a:rPr lang="sk-SK" altLang="en-US" sz="1400" dirty="0" smtClean="0"/>
              <a:t> Účinnosť</a:t>
            </a:r>
            <a:endParaRPr lang="sk-SK" sz="1400" dirty="0"/>
          </a:p>
        </p:txBody>
      </p:sp>
      <p:sp>
        <p:nvSpPr>
          <p:cNvPr id="7" name="Text Placeholder 2"/>
          <p:cNvSpPr>
            <a:spLocks noGrp="1"/>
          </p:cNvSpPr>
          <p:nvPr>
            <p:custDataLst>
              <p:tags r:id="rId61"/>
            </p:custDataLst>
          </p:nvPr>
        </p:nvSpPr>
        <p:spPr bwMode="auto">
          <a:xfrm>
            <a:off x="727075" y="3856038"/>
            <a:ext cx="1236663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6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sk-SK" altLang="en-US" sz="1600" dirty="0" smtClean="0"/>
              <a:t>APV </a:t>
            </a:r>
            <a:r>
              <a:rPr lang="sk-SK" altLang="en-US" sz="1600" dirty="0" err="1" smtClean="0"/>
              <a:t>Peppol</a:t>
            </a:r>
            <a:r>
              <a:rPr lang="sk-SK" altLang="en-US" sz="1600" dirty="0" smtClean="0"/>
              <a:t> </a:t>
            </a:r>
            <a:r>
              <a:rPr lang="sk-SK" altLang="en-US" sz="1600" b="1" dirty="0" smtClean="0"/>
              <a:t>štát</a:t>
            </a:r>
            <a:endParaRPr lang="sk-SK" sz="1600" b="1" dirty="0"/>
          </a:p>
        </p:txBody>
      </p:sp>
      <p:sp useBgFill="1">
        <p:nvSpPr>
          <p:cNvPr id="434" name="Text Placeholder 2"/>
          <p:cNvSpPr>
            <a:spLocks noGrp="1"/>
          </p:cNvSpPr>
          <p:nvPr>
            <p:custDataLst>
              <p:tags r:id="rId62"/>
            </p:custDataLst>
          </p:nvPr>
        </p:nvSpPr>
        <p:spPr bwMode="auto">
          <a:xfrm>
            <a:off x="3197225" y="4738688"/>
            <a:ext cx="1751013" cy="533400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6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sk-SK" altLang="en-US" sz="1400" dirty="0" smtClean="0"/>
              <a:t>Analýza a dopadové štúdie</a:t>
            </a:r>
          </a:p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sk-SK" sz="1050" dirty="0" smtClean="0"/>
              <a:t>(Vystavovanie a prijímanie</a:t>
            </a:r>
          </a:p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sk-SK" sz="1050" dirty="0"/>
              <a:t>f</a:t>
            </a:r>
            <a:r>
              <a:rPr lang="sk-SK" sz="1050" dirty="0" smtClean="0"/>
              <a:t>aktúr vo formáte </a:t>
            </a:r>
            <a:r>
              <a:rPr lang="sk-SK" sz="1050" dirty="0" err="1" smtClean="0"/>
              <a:t>Peppol</a:t>
            </a:r>
            <a:r>
              <a:rPr lang="sk-SK" sz="1050" dirty="0" smtClean="0"/>
              <a:t> BIS3) </a:t>
            </a:r>
            <a:endParaRPr lang="sk-SK" sz="1050" dirty="0"/>
          </a:p>
        </p:txBody>
      </p:sp>
      <p:sp>
        <p:nvSpPr>
          <p:cNvPr id="388" name="Text Placeholder 2"/>
          <p:cNvSpPr>
            <a:spLocks noGrp="1"/>
          </p:cNvSpPr>
          <p:nvPr>
            <p:custDataLst>
              <p:tags r:id="rId63"/>
            </p:custDataLst>
          </p:nvPr>
        </p:nvSpPr>
        <p:spPr bwMode="auto">
          <a:xfrm>
            <a:off x="8904288" y="2046288"/>
            <a:ext cx="14652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6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sk-SK" altLang="en-US" sz="1400" dirty="0" smtClean="0"/>
              <a:t>Novelizácie a vyhlášky</a:t>
            </a:r>
            <a:endParaRPr lang="sk-SK" sz="1400" dirty="0"/>
          </a:p>
        </p:txBody>
      </p:sp>
      <p:sp>
        <p:nvSpPr>
          <p:cNvPr id="5" name="Text Placeholder 2"/>
          <p:cNvSpPr>
            <a:spLocks noGrp="1"/>
          </p:cNvSpPr>
          <p:nvPr>
            <p:custDataLst>
              <p:tags r:id="rId64"/>
            </p:custDataLst>
          </p:nvPr>
        </p:nvSpPr>
        <p:spPr bwMode="auto">
          <a:xfrm>
            <a:off x="727074" y="2046288"/>
            <a:ext cx="793750" cy="488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6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sk-SK" altLang="en-US" sz="1600" dirty="0" smtClean="0"/>
              <a:t>Legislatíva</a:t>
            </a:r>
          </a:p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endParaRPr lang="sk-SK" sz="1600" dirty="0"/>
          </a:p>
        </p:txBody>
      </p:sp>
      <p:sp useBgFill="1">
        <p:nvSpPr>
          <p:cNvPr id="416" name="Text Placeholder 2"/>
          <p:cNvSpPr>
            <a:spLocks noGrp="1"/>
          </p:cNvSpPr>
          <p:nvPr>
            <p:custDataLst>
              <p:tags r:id="rId65"/>
            </p:custDataLst>
          </p:nvPr>
        </p:nvSpPr>
        <p:spPr bwMode="auto">
          <a:xfrm>
            <a:off x="4894263" y="4035425"/>
            <a:ext cx="1793875" cy="425450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6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sk-SK" altLang="en-US" sz="1400" dirty="0" smtClean="0"/>
              <a:t>Implementácia a integračné</a:t>
            </a:r>
          </a:p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sk-SK" altLang="en-US" sz="1400" dirty="0" smtClean="0"/>
              <a:t>testy s AP</a:t>
            </a:r>
            <a:endParaRPr lang="sk-SK" sz="1400" dirty="0"/>
          </a:p>
        </p:txBody>
      </p:sp>
      <p:sp useBgFill="1">
        <p:nvSpPr>
          <p:cNvPr id="439" name="Text Placeholder 2"/>
          <p:cNvSpPr>
            <a:spLocks noGrp="1"/>
          </p:cNvSpPr>
          <p:nvPr>
            <p:custDataLst>
              <p:tags r:id="rId66"/>
            </p:custDataLst>
          </p:nvPr>
        </p:nvSpPr>
        <p:spPr bwMode="auto">
          <a:xfrm>
            <a:off x="5019675" y="4738688"/>
            <a:ext cx="1793875" cy="425450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6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sk-SK" altLang="en-US" sz="1400" dirty="0" smtClean="0"/>
              <a:t>Implementácia a integračné</a:t>
            </a:r>
          </a:p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sk-SK" sz="1400" dirty="0" smtClean="0"/>
              <a:t>testy s AP</a:t>
            </a:r>
            <a:endParaRPr lang="sk-SK" sz="1400" dirty="0"/>
          </a:p>
        </p:txBody>
      </p:sp>
      <p:sp>
        <p:nvSpPr>
          <p:cNvPr id="448" name="Text Placeholder 2"/>
          <p:cNvSpPr>
            <a:spLocks noGrp="1"/>
          </p:cNvSpPr>
          <p:nvPr>
            <p:custDataLst>
              <p:tags r:id="rId67"/>
            </p:custDataLst>
          </p:nvPr>
        </p:nvSpPr>
        <p:spPr bwMode="auto">
          <a:xfrm>
            <a:off x="8904288" y="2600325"/>
            <a:ext cx="1754188" cy="425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6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sk-SK" altLang="en-US" sz="1400" dirty="0" smtClean="0"/>
              <a:t>Certifikácia Poskytovateľov</a:t>
            </a:r>
          </a:p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sk-SK" sz="1400" dirty="0"/>
              <a:t>p</a:t>
            </a:r>
            <a:r>
              <a:rPr lang="sk-SK" sz="1400" dirty="0" smtClean="0"/>
              <a:t>rístupu k sieti </a:t>
            </a:r>
            <a:r>
              <a:rPr lang="sk-SK" sz="1400" dirty="0" err="1" smtClean="0"/>
              <a:t>Peppol</a:t>
            </a:r>
            <a:endParaRPr lang="sk-SK" sz="1400" dirty="0"/>
          </a:p>
        </p:txBody>
      </p:sp>
      <p:sp>
        <p:nvSpPr>
          <p:cNvPr id="450" name="Text Placeholder 2"/>
          <p:cNvSpPr>
            <a:spLocks noGrp="1"/>
          </p:cNvSpPr>
          <p:nvPr>
            <p:custDataLst>
              <p:tags r:id="rId68"/>
            </p:custDataLst>
          </p:nvPr>
        </p:nvSpPr>
        <p:spPr bwMode="auto">
          <a:xfrm>
            <a:off x="8904288" y="3154363"/>
            <a:ext cx="1839913" cy="638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6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sk-SK" altLang="en-US" sz="1400" dirty="0" smtClean="0"/>
              <a:t>Vývoj alebo adaptácia </a:t>
            </a:r>
            <a:r>
              <a:rPr lang="sk-SK" altLang="en-US" sz="1400" dirty="0" err="1" smtClean="0"/>
              <a:t>Open</a:t>
            </a:r>
            <a:endParaRPr lang="sk-SK" altLang="en-US" sz="1400" dirty="0" smtClean="0"/>
          </a:p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sk-SK" sz="1400" dirty="0" err="1" smtClean="0"/>
              <a:t>Source</a:t>
            </a:r>
            <a:r>
              <a:rPr lang="sk-SK" sz="1400" dirty="0" smtClean="0"/>
              <a:t> SW AP (</a:t>
            </a:r>
            <a:r>
              <a:rPr lang="sk-SK" sz="1400" dirty="0" err="1" smtClean="0"/>
              <a:t>Servre</a:t>
            </a:r>
            <a:r>
              <a:rPr lang="sk-SK" sz="1400" dirty="0" smtClean="0"/>
              <a:t> AS4)</a:t>
            </a:r>
          </a:p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sk-SK" sz="1400" dirty="0" smtClean="0"/>
              <a:t>Inak nazvané: </a:t>
            </a:r>
            <a:r>
              <a:rPr lang="sk-SK" sz="1400" b="1" dirty="0" smtClean="0"/>
              <a:t>C2 a C3</a:t>
            </a:r>
            <a:endParaRPr lang="sk-SK" sz="1400" b="1" dirty="0"/>
          </a:p>
        </p:txBody>
      </p:sp>
      <p:sp>
        <p:nvSpPr>
          <p:cNvPr id="452" name="Text Placeholder 2"/>
          <p:cNvSpPr>
            <a:spLocks noGrp="1"/>
          </p:cNvSpPr>
          <p:nvPr>
            <p:custDataLst>
              <p:tags r:id="rId69"/>
            </p:custDataLst>
          </p:nvPr>
        </p:nvSpPr>
        <p:spPr bwMode="auto">
          <a:xfrm>
            <a:off x="8904288" y="3856038"/>
            <a:ext cx="1549400" cy="638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6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sk-SK" altLang="en-US" sz="1400" dirty="0" smtClean="0"/>
              <a:t>Obstaranie a prevádzka</a:t>
            </a:r>
          </a:p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sk-SK" altLang="en-US" sz="1400" dirty="0" smtClean="0"/>
              <a:t> APV (C5, SMP a KYC)</a:t>
            </a:r>
          </a:p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endParaRPr lang="sk-SK" sz="1400" dirty="0"/>
          </a:p>
        </p:txBody>
      </p:sp>
      <p:sp>
        <p:nvSpPr>
          <p:cNvPr id="454" name="Text Placeholder 2"/>
          <p:cNvSpPr>
            <a:spLocks noGrp="1"/>
          </p:cNvSpPr>
          <p:nvPr>
            <p:custDataLst>
              <p:tags r:id="rId70"/>
            </p:custDataLst>
          </p:nvPr>
        </p:nvSpPr>
        <p:spPr bwMode="auto">
          <a:xfrm>
            <a:off x="8904288" y="4559300"/>
            <a:ext cx="1808163" cy="638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6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sk-SK" sz="1400" dirty="0" smtClean="0"/>
              <a:t>Vystavovanie el. faktúr</a:t>
            </a:r>
          </a:p>
          <a:p>
            <a:pPr>
              <a:spcBef>
                <a:spcPct val="0"/>
              </a:spcBef>
              <a:spcAft>
                <a:spcPct val="0"/>
              </a:spcAft>
            </a:pPr>
            <a:r>
              <a:rPr lang="sk-SK" sz="1400" dirty="0" smtClean="0"/>
              <a:t>Prijímanie el. faktúr</a:t>
            </a:r>
          </a:p>
          <a:p>
            <a:pPr>
              <a:spcBef>
                <a:spcPct val="0"/>
              </a:spcBef>
              <a:spcAft>
                <a:spcPct val="0"/>
              </a:spcAft>
            </a:pPr>
            <a:r>
              <a:rPr lang="sk-SK" sz="1400" b="1" dirty="0" smtClean="0"/>
              <a:t>Archivácia</a:t>
            </a:r>
            <a:r>
              <a:rPr lang="sk-SK" sz="1400" dirty="0" smtClean="0"/>
              <a:t> el. faktúr</a:t>
            </a:r>
            <a:endParaRPr lang="sk-SK" sz="1400" dirty="0"/>
          </a:p>
        </p:txBody>
      </p:sp>
      <p:sp>
        <p:nvSpPr>
          <p:cNvPr id="11" name="Text Placeholder 2"/>
          <p:cNvSpPr>
            <a:spLocks noGrp="1"/>
          </p:cNvSpPr>
          <p:nvPr>
            <p:custDataLst>
              <p:tags r:id="rId71"/>
            </p:custDataLst>
          </p:nvPr>
        </p:nvSpPr>
        <p:spPr bwMode="auto">
          <a:xfrm>
            <a:off x="727074" y="4559300"/>
            <a:ext cx="1849438" cy="7334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6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sk-SK" altLang="en-US" sz="1600" dirty="0" smtClean="0"/>
              <a:t>Adaptácia účtovných SW</a:t>
            </a:r>
          </a:p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sk-SK" altLang="en-US" sz="1600" dirty="0" smtClean="0"/>
              <a:t>na formát </a:t>
            </a:r>
            <a:r>
              <a:rPr lang="sk-SK" sz="1600" dirty="0" err="1" smtClean="0"/>
              <a:t>Peppol</a:t>
            </a:r>
            <a:r>
              <a:rPr lang="sk-SK" sz="1600" dirty="0" smtClean="0"/>
              <a:t> BIS 3 </a:t>
            </a:r>
          </a:p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sk-SK" sz="1600" b="1" dirty="0" smtClean="0"/>
              <a:t>verejnosť</a:t>
            </a:r>
            <a:endParaRPr lang="sk-SK" sz="1600" b="1" dirty="0"/>
          </a:p>
        </p:txBody>
      </p:sp>
      <p:sp useBgFill="1">
        <p:nvSpPr>
          <p:cNvPr id="418" name="Text Placeholder 2"/>
          <p:cNvSpPr>
            <a:spLocks noGrp="1"/>
          </p:cNvSpPr>
          <p:nvPr>
            <p:custDataLst>
              <p:tags r:id="rId72"/>
            </p:custDataLst>
          </p:nvPr>
        </p:nvSpPr>
        <p:spPr bwMode="auto">
          <a:xfrm>
            <a:off x="6759575" y="4035425"/>
            <a:ext cx="1814513" cy="212725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6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sk-SK" altLang="en-US" sz="1400" dirty="0" err="1" smtClean="0"/>
              <a:t>Onboarding</a:t>
            </a:r>
            <a:r>
              <a:rPr lang="sk-SK" altLang="en-US" sz="1400" dirty="0" smtClean="0"/>
              <a:t>/Pilot/ Spustenie</a:t>
            </a:r>
            <a:endParaRPr lang="sk-SK" sz="1400" dirty="0"/>
          </a:p>
        </p:txBody>
      </p:sp>
      <p:sp useBgFill="1">
        <p:nvSpPr>
          <p:cNvPr id="414" name="Text Placeholder 2"/>
          <p:cNvSpPr>
            <a:spLocks noGrp="1"/>
          </p:cNvSpPr>
          <p:nvPr>
            <p:custDataLst>
              <p:tags r:id="rId73"/>
            </p:custDataLst>
          </p:nvPr>
        </p:nvSpPr>
        <p:spPr bwMode="auto">
          <a:xfrm>
            <a:off x="3024188" y="4035425"/>
            <a:ext cx="1798638" cy="212725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6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sk-SK" altLang="en-US" sz="1400" dirty="0" smtClean="0"/>
              <a:t>Obstaranie (C5, SMP, KYC)</a:t>
            </a:r>
            <a:endParaRPr lang="sk-SK" sz="1400" dirty="0"/>
          </a:p>
        </p:txBody>
      </p:sp>
      <p:sp useBgFill="1">
        <p:nvSpPr>
          <p:cNvPr id="443" name="Text Placeholder 2"/>
          <p:cNvSpPr>
            <a:spLocks noGrp="1"/>
          </p:cNvSpPr>
          <p:nvPr>
            <p:custDataLst>
              <p:tags r:id="rId74"/>
            </p:custDataLst>
          </p:nvPr>
        </p:nvSpPr>
        <p:spPr bwMode="auto">
          <a:xfrm>
            <a:off x="7018338" y="4738688"/>
            <a:ext cx="971550" cy="212725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6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sk-SK" altLang="en-US" sz="1400" dirty="0" smtClean="0"/>
              <a:t>Pilot/Spustenie</a:t>
            </a:r>
            <a:endParaRPr lang="sk-SK" sz="1400" dirty="0"/>
          </a:p>
        </p:txBody>
      </p:sp>
      <p:sp>
        <p:nvSpPr>
          <p:cNvPr id="2" name="Zástupný objekt pre číslo snímky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16</a:t>
            </a:fld>
            <a:endParaRPr lang="en-US"/>
          </a:p>
        </p:txBody>
      </p:sp>
      <p:sp>
        <p:nvSpPr>
          <p:cNvPr id="77" name="BlokTextu 76"/>
          <p:cNvSpPr txBox="1"/>
          <p:nvPr/>
        </p:nvSpPr>
        <p:spPr>
          <a:xfrm>
            <a:off x="821267" y="351367"/>
            <a:ext cx="940646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k-SK" sz="2800" b="1" dirty="0" smtClean="0">
                <a:solidFill>
                  <a:schemeClr val="bg1">
                    <a:lumMod val="50000"/>
                  </a:schemeClr>
                </a:solidFill>
              </a:rPr>
              <a:t>Harmonogram</a:t>
            </a:r>
            <a:endParaRPr lang="sk-SK" sz="2800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105457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dĺžnik 1"/>
          <p:cNvSpPr/>
          <p:nvPr/>
        </p:nvSpPr>
        <p:spPr>
          <a:xfrm>
            <a:off x="761999" y="2046238"/>
            <a:ext cx="9618134" cy="35394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0"/>
              </a:spcAft>
            </a:pPr>
            <a:r>
              <a:rPr lang="sk-SK" sz="2800" dirty="0" err="1">
                <a:latin typeface="Calibri" panose="020F0502020204030204" pitchFamily="34" charset="0"/>
                <a:ea typeface="Calibri" panose="020F0502020204030204" pitchFamily="34" charset="0"/>
              </a:rPr>
              <a:t>Format</a:t>
            </a:r>
            <a:r>
              <a:rPr lang="sk-SK" sz="2800" dirty="0">
                <a:latin typeface="Calibri" panose="020F0502020204030204" pitchFamily="34" charset="0"/>
                <a:ea typeface="Calibri" panose="020F0502020204030204" pitchFamily="34" charset="0"/>
              </a:rPr>
              <a:t> faktúry: </a:t>
            </a:r>
            <a:r>
              <a:rPr lang="sk-SK" sz="2800" u="sng" dirty="0">
                <a:solidFill>
                  <a:srgbClr val="0563C1"/>
                </a:solidFill>
                <a:latin typeface="Calibri" panose="020F0502020204030204" pitchFamily="34" charset="0"/>
                <a:ea typeface="Calibri" panose="020F0502020204030204" pitchFamily="34" charset="0"/>
                <a:hlinkClick r:id="rId2"/>
              </a:rPr>
              <a:t>https://www.normoff.gov.sk/files/docs/e-fakturacia-stn-en-16931-1-a1-614d692fbcaa2.pdf</a:t>
            </a:r>
            <a:endParaRPr lang="sk-SK" sz="2800" dirty="0"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>
              <a:spcAft>
                <a:spcPts val="0"/>
              </a:spcAft>
            </a:pPr>
            <a:r>
              <a:rPr lang="sk-SK" sz="2800" dirty="0" err="1">
                <a:latin typeface="Calibri" panose="020F0502020204030204" pitchFamily="34" charset="0"/>
                <a:ea typeface="Calibri" panose="020F0502020204030204" pitchFamily="34" charset="0"/>
              </a:rPr>
              <a:t>Peppol</a:t>
            </a:r>
            <a:r>
              <a:rPr lang="sk-SK" sz="2800" dirty="0">
                <a:latin typeface="Calibri" panose="020F0502020204030204" pitchFamily="34" charset="0"/>
                <a:ea typeface="Calibri" panose="020F0502020204030204" pitchFamily="34" charset="0"/>
              </a:rPr>
              <a:t> BIS 3 preklad do XML </a:t>
            </a:r>
            <a:r>
              <a:rPr lang="sk-SK" sz="2800" dirty="0" err="1">
                <a:latin typeface="Calibri" panose="020F0502020204030204" pitchFamily="34" charset="0"/>
                <a:ea typeface="Calibri" panose="020F0502020204030204" pitchFamily="34" charset="0"/>
              </a:rPr>
              <a:t>podla</a:t>
            </a:r>
            <a:r>
              <a:rPr lang="sk-SK" sz="2800" dirty="0"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sk-SK" sz="2800" dirty="0" err="1">
                <a:latin typeface="Calibri" panose="020F0502020204030204" pitchFamily="34" charset="0"/>
                <a:ea typeface="Calibri" panose="020F0502020204030204" pitchFamily="34" charset="0"/>
              </a:rPr>
              <a:t>standardu</a:t>
            </a:r>
            <a:r>
              <a:rPr lang="sk-SK" sz="2800" dirty="0">
                <a:latin typeface="Calibri" panose="020F0502020204030204" pitchFamily="34" charset="0"/>
                <a:ea typeface="Calibri" panose="020F0502020204030204" pitchFamily="34" charset="0"/>
              </a:rPr>
              <a:t> UBL2.1: </a:t>
            </a:r>
            <a:r>
              <a:rPr lang="sk-SK" sz="2800" u="sng" dirty="0" err="1">
                <a:solidFill>
                  <a:srgbClr val="0563C1"/>
                </a:solidFill>
                <a:latin typeface="Calibri" panose="020F0502020204030204" pitchFamily="34" charset="0"/>
                <a:ea typeface="Calibri" panose="020F0502020204030204" pitchFamily="34" charset="0"/>
                <a:hlinkClick r:id="rId3"/>
              </a:rPr>
              <a:t>Peppol</a:t>
            </a:r>
            <a:r>
              <a:rPr lang="sk-SK" sz="2800" u="sng" dirty="0">
                <a:solidFill>
                  <a:srgbClr val="0563C1"/>
                </a:solidFill>
                <a:latin typeface="Calibri" panose="020F0502020204030204" pitchFamily="34" charset="0"/>
                <a:ea typeface="Calibri" panose="020F0502020204030204" pitchFamily="34" charset="0"/>
                <a:hlinkClick r:id="rId3"/>
              </a:rPr>
              <a:t> BIS </a:t>
            </a:r>
            <a:r>
              <a:rPr lang="sk-SK" sz="2800" u="sng" dirty="0" err="1">
                <a:solidFill>
                  <a:srgbClr val="0563C1"/>
                </a:solidFill>
                <a:latin typeface="Calibri" panose="020F0502020204030204" pitchFamily="34" charset="0"/>
                <a:ea typeface="Calibri" panose="020F0502020204030204" pitchFamily="34" charset="0"/>
                <a:hlinkClick r:id="rId3"/>
              </a:rPr>
              <a:t>Billing</a:t>
            </a:r>
            <a:r>
              <a:rPr lang="sk-SK" sz="2800" u="sng" dirty="0">
                <a:solidFill>
                  <a:srgbClr val="0563C1"/>
                </a:solidFill>
                <a:latin typeface="Calibri" panose="020F0502020204030204" pitchFamily="34" charset="0"/>
                <a:ea typeface="Calibri" panose="020F0502020204030204" pitchFamily="34" charset="0"/>
                <a:hlinkClick r:id="rId3"/>
              </a:rPr>
              <a:t> 3.0 - November 2024 </a:t>
            </a:r>
            <a:r>
              <a:rPr lang="sk-SK" sz="2800" u="sng" dirty="0" err="1">
                <a:solidFill>
                  <a:srgbClr val="0563C1"/>
                </a:solidFill>
                <a:latin typeface="Calibri" panose="020F0502020204030204" pitchFamily="34" charset="0"/>
                <a:ea typeface="Calibri" panose="020F0502020204030204" pitchFamily="34" charset="0"/>
                <a:hlinkClick r:id="rId3"/>
              </a:rPr>
              <a:t>Release</a:t>
            </a:r>
            <a:endParaRPr lang="sk-SK" sz="2800" dirty="0"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>
              <a:spcAft>
                <a:spcPts val="0"/>
              </a:spcAft>
            </a:pPr>
            <a:r>
              <a:rPr lang="sk-SK" sz="2800" dirty="0">
                <a:latin typeface="Calibri" panose="020F0502020204030204" pitchFamily="34" charset="0"/>
                <a:ea typeface="Calibri" panose="020F0502020204030204" pitchFamily="34" charset="0"/>
              </a:rPr>
              <a:t>Praktické informácie o sieti </a:t>
            </a:r>
            <a:r>
              <a:rPr lang="sk-SK" sz="2800" dirty="0" err="1">
                <a:latin typeface="Calibri" panose="020F0502020204030204" pitchFamily="34" charset="0"/>
                <a:ea typeface="Calibri" panose="020F0502020204030204" pitchFamily="34" charset="0"/>
              </a:rPr>
              <a:t>Peppol</a:t>
            </a:r>
            <a:r>
              <a:rPr lang="sk-SK" sz="2800" dirty="0">
                <a:latin typeface="Calibri" panose="020F0502020204030204" pitchFamily="34" charset="0"/>
                <a:ea typeface="Calibri" panose="020F0502020204030204" pitchFamily="34" charset="0"/>
              </a:rPr>
              <a:t> a dostupnom </a:t>
            </a:r>
            <a:r>
              <a:rPr lang="sk-SK" sz="2800" dirty="0" err="1">
                <a:latin typeface="Calibri" panose="020F0502020204030204" pitchFamily="34" charset="0"/>
                <a:ea typeface="Calibri" panose="020F0502020204030204" pitchFamily="34" charset="0"/>
              </a:rPr>
              <a:t>open-source</a:t>
            </a:r>
            <a:r>
              <a:rPr lang="sk-SK" sz="2800" dirty="0">
                <a:latin typeface="Calibri" panose="020F0502020204030204" pitchFamily="34" charset="0"/>
                <a:ea typeface="Calibri" panose="020F0502020204030204" pitchFamily="34" charset="0"/>
              </a:rPr>
              <a:t> SW: </a:t>
            </a:r>
            <a:r>
              <a:rPr lang="sk-SK" sz="2800" u="sng" dirty="0" err="1">
                <a:solidFill>
                  <a:srgbClr val="0563C1"/>
                </a:solidFill>
                <a:latin typeface="Calibri" panose="020F0502020204030204" pitchFamily="34" charset="0"/>
                <a:ea typeface="Calibri" panose="020F0502020204030204" pitchFamily="34" charset="0"/>
                <a:hlinkClick r:id="rId4"/>
              </a:rPr>
              <a:t>Peppol</a:t>
            </a:r>
            <a:r>
              <a:rPr lang="sk-SK" sz="2800" u="sng" dirty="0">
                <a:solidFill>
                  <a:srgbClr val="0563C1"/>
                </a:solidFill>
                <a:latin typeface="Calibri" panose="020F0502020204030204" pitchFamily="34" charset="0"/>
                <a:ea typeface="Calibri" panose="020F0502020204030204" pitchFamily="34" charset="0"/>
                <a:hlinkClick r:id="rId4"/>
              </a:rPr>
              <a:t> </a:t>
            </a:r>
            <a:r>
              <a:rPr lang="sk-SK" sz="2800" u="sng" dirty="0" err="1">
                <a:solidFill>
                  <a:srgbClr val="0563C1"/>
                </a:solidFill>
                <a:latin typeface="Calibri" panose="020F0502020204030204" pitchFamily="34" charset="0"/>
                <a:ea typeface="Calibri" panose="020F0502020204030204" pitchFamily="34" charset="0"/>
                <a:hlinkClick r:id="rId4"/>
              </a:rPr>
              <a:t>Practical</a:t>
            </a:r>
            <a:r>
              <a:rPr lang="sk-SK" sz="2800" u="sng" dirty="0">
                <a:solidFill>
                  <a:srgbClr val="0563C1"/>
                </a:solidFill>
                <a:latin typeface="Calibri" panose="020F0502020204030204" pitchFamily="34" charset="0"/>
                <a:ea typeface="Calibri" panose="020F0502020204030204" pitchFamily="34" charset="0"/>
                <a:hlinkClick r:id="rId4"/>
              </a:rPr>
              <a:t> - News</a:t>
            </a:r>
            <a:endParaRPr lang="sk-SK" sz="2800" dirty="0"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>
              <a:spcAft>
                <a:spcPts val="0"/>
              </a:spcAft>
            </a:pPr>
            <a:r>
              <a:rPr lang="sk-SK" sz="2800" dirty="0" err="1">
                <a:latin typeface="Calibri" panose="020F0502020204030204" pitchFamily="34" charset="0"/>
                <a:ea typeface="Calibri" panose="020F0502020204030204" pitchFamily="34" charset="0"/>
              </a:rPr>
              <a:t>OpenPeppol</a:t>
            </a:r>
            <a:r>
              <a:rPr lang="sk-SK" sz="2800" dirty="0">
                <a:latin typeface="Calibri" panose="020F0502020204030204" pitchFamily="34" charset="0"/>
                <a:ea typeface="Calibri" panose="020F0502020204030204" pitchFamily="34" charset="0"/>
              </a:rPr>
              <a:t> organizácia zastrešujúca EU štandard faktúry a digitálnu sieť </a:t>
            </a:r>
            <a:r>
              <a:rPr lang="sk-SK" sz="2800" dirty="0" err="1">
                <a:latin typeface="Calibri" panose="020F0502020204030204" pitchFamily="34" charset="0"/>
                <a:ea typeface="Calibri" panose="020F0502020204030204" pitchFamily="34" charset="0"/>
              </a:rPr>
              <a:t>Peppol</a:t>
            </a:r>
            <a:r>
              <a:rPr lang="sk-SK" sz="2800" dirty="0">
                <a:latin typeface="Calibri" panose="020F0502020204030204" pitchFamily="34" charset="0"/>
                <a:ea typeface="Calibri" panose="020F0502020204030204" pitchFamily="34" charset="0"/>
              </a:rPr>
              <a:t>: </a:t>
            </a:r>
            <a:r>
              <a:rPr lang="sk-SK" sz="2800" u="sng" dirty="0">
                <a:solidFill>
                  <a:srgbClr val="0563C1"/>
                </a:solidFill>
                <a:latin typeface="Calibri" panose="020F0502020204030204" pitchFamily="34" charset="0"/>
                <a:ea typeface="Calibri" panose="020F0502020204030204" pitchFamily="34" charset="0"/>
                <a:hlinkClick r:id="rId5"/>
              </a:rPr>
              <a:t>www.peppol.org</a:t>
            </a:r>
            <a:endParaRPr lang="sk-SK" sz="2800" dirty="0"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  <p:sp>
        <p:nvSpPr>
          <p:cNvPr id="5" name="BlokTextu 4"/>
          <p:cNvSpPr txBox="1"/>
          <p:nvPr/>
        </p:nvSpPr>
        <p:spPr>
          <a:xfrm>
            <a:off x="821267" y="351367"/>
            <a:ext cx="940646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k-SK" sz="2800" b="1" dirty="0" smtClean="0">
                <a:solidFill>
                  <a:schemeClr val="bg1">
                    <a:lumMod val="50000"/>
                  </a:schemeClr>
                </a:solidFill>
              </a:rPr>
              <a:t>Veľmi užitočné linky</a:t>
            </a:r>
            <a:endParaRPr lang="sk-SK" sz="28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" name="Zástupný objekt pre číslo snímky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0388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objekt pre číslo snímky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18</a:t>
            </a:fld>
            <a:endParaRPr lang="en-US"/>
          </a:p>
        </p:txBody>
      </p:sp>
      <p:sp>
        <p:nvSpPr>
          <p:cNvPr id="4" name="BlokTextu 3"/>
          <p:cNvSpPr txBox="1"/>
          <p:nvPr/>
        </p:nvSpPr>
        <p:spPr>
          <a:xfrm>
            <a:off x="694592" y="2664069"/>
            <a:ext cx="6530955" cy="267765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sk-SK" sz="2800" dirty="0" err="1" smtClean="0"/>
              <a:t>Slack</a:t>
            </a:r>
            <a:endParaRPr lang="sk-SK" sz="2800" dirty="0" smtClean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sk-SK" sz="2800" dirty="0" smtClean="0"/>
              <a:t>Kanál </a:t>
            </a:r>
            <a:r>
              <a:rPr lang="sk-SK" sz="2800" dirty="0" err="1" smtClean="0"/>
              <a:t>efaktúra</a:t>
            </a:r>
            <a:endParaRPr lang="sk-SK" sz="2800" dirty="0" smtClean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sk-SK" sz="2800" dirty="0" smtClean="0"/>
              <a:t>Kanál QRSK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sk-SK" sz="2800" dirty="0" smtClean="0"/>
              <a:t>Kanál Oauth2.0 API</a:t>
            </a:r>
          </a:p>
          <a:p>
            <a:pPr lvl="1"/>
            <a:endParaRPr lang="sk-SK" sz="28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sk-SK" sz="2800" dirty="0" smtClean="0"/>
              <a:t>Email: efaktura@financnasprava.sk</a:t>
            </a:r>
            <a:endParaRPr lang="sk-SK" sz="2800" dirty="0"/>
          </a:p>
        </p:txBody>
      </p:sp>
      <p:pic>
        <p:nvPicPr>
          <p:cNvPr id="5" name="Obrázok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66546" y="2597395"/>
            <a:ext cx="381000" cy="361950"/>
          </a:xfrm>
          <a:prstGeom prst="rect">
            <a:avLst/>
          </a:prstGeom>
        </p:spPr>
      </p:pic>
      <p:sp>
        <p:nvSpPr>
          <p:cNvPr id="6" name="BlokTextu 5"/>
          <p:cNvSpPr txBox="1"/>
          <p:nvPr/>
        </p:nvSpPr>
        <p:spPr>
          <a:xfrm>
            <a:off x="821267" y="351367"/>
            <a:ext cx="940646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k-SK" sz="2800" b="1" dirty="0" smtClean="0">
                <a:solidFill>
                  <a:schemeClr val="bg1">
                    <a:lumMod val="50000"/>
                  </a:schemeClr>
                </a:solidFill>
              </a:rPr>
              <a:t>Kolaborácia</a:t>
            </a:r>
            <a:endParaRPr lang="sk-SK" sz="2800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708847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lokTextu 1"/>
          <p:cNvSpPr txBox="1"/>
          <p:nvPr/>
        </p:nvSpPr>
        <p:spPr>
          <a:xfrm>
            <a:off x="444175" y="1140242"/>
            <a:ext cx="10282440" cy="65248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k-SK" sz="6600" b="1" dirty="0" smtClean="0"/>
              <a:t>Praktické ukážky</a:t>
            </a:r>
          </a:p>
          <a:p>
            <a:pPr lvl="1"/>
            <a:endParaRPr lang="sk-SK" sz="4400" dirty="0" smtClean="0"/>
          </a:p>
          <a:p>
            <a:pPr lvl="1"/>
            <a:r>
              <a:rPr lang="sk-SK" sz="4400" dirty="0" smtClean="0"/>
              <a:t>Príklad Servisný </a:t>
            </a:r>
            <a:r>
              <a:rPr lang="sk-SK" sz="4400" dirty="0" err="1" smtClean="0"/>
              <a:t>provider</a:t>
            </a:r>
            <a:r>
              <a:rPr lang="sk-SK" sz="4400" dirty="0" smtClean="0"/>
              <a:t> (</a:t>
            </a:r>
            <a:r>
              <a:rPr lang="sk-SK" sz="4400" dirty="0" err="1" smtClean="0"/>
              <a:t>vibe</a:t>
            </a:r>
            <a:r>
              <a:rPr lang="sk-SK" sz="4400" dirty="0" smtClean="0"/>
              <a:t> </a:t>
            </a:r>
            <a:r>
              <a:rPr lang="sk-SK" sz="4400" dirty="0" err="1" smtClean="0"/>
              <a:t>coded</a:t>
            </a:r>
            <a:r>
              <a:rPr lang="sk-SK" sz="4400" dirty="0" smtClean="0"/>
              <a:t>)</a:t>
            </a:r>
          </a:p>
          <a:p>
            <a:pPr marL="1028700" lvl="1" indent="-571500">
              <a:buFont typeface="Arial" panose="020B0604020202020204" pitchFamily="34" charset="0"/>
              <a:buChar char="•"/>
            </a:pPr>
            <a:r>
              <a:rPr lang="sk-SK" sz="4400" dirty="0" smtClean="0"/>
              <a:t>Web </a:t>
            </a:r>
            <a:r>
              <a:rPr lang="sk-SK" sz="4400" dirty="0" smtClean="0"/>
              <a:t>rozhranie (</a:t>
            </a:r>
            <a:r>
              <a:rPr lang="sk-SK" sz="4400" dirty="0" err="1" smtClean="0"/>
              <a:t>ionite</a:t>
            </a:r>
            <a:r>
              <a:rPr lang="sk-SK" sz="4400" dirty="0" smtClean="0"/>
              <a:t>)</a:t>
            </a:r>
            <a:endParaRPr lang="sk-SK" sz="4400" dirty="0" smtClean="0"/>
          </a:p>
          <a:p>
            <a:pPr marL="1028700" lvl="1" indent="-571500">
              <a:buFont typeface="Arial" panose="020B0604020202020204" pitchFamily="34" charset="0"/>
              <a:buChar char="•"/>
            </a:pPr>
            <a:r>
              <a:rPr lang="sk-SK" sz="4400" dirty="0" smtClean="0"/>
              <a:t>API na účtovný </a:t>
            </a:r>
            <a:r>
              <a:rPr lang="sk-SK" sz="4400" dirty="0" smtClean="0"/>
              <a:t>systém</a:t>
            </a:r>
          </a:p>
          <a:p>
            <a:pPr marL="1028700" lvl="1" indent="-571500">
              <a:buFont typeface="Arial" panose="020B0604020202020204" pitchFamily="34" charset="0"/>
              <a:buChar char="•"/>
            </a:pPr>
            <a:r>
              <a:rPr lang="sk-SK" sz="4400" dirty="0">
                <a:hlinkClick r:id="rId2"/>
              </a:rPr>
              <a:t>https://v0-elala-eehfpr.vercel.app</a:t>
            </a:r>
            <a:r>
              <a:rPr lang="sk-SK" sz="4400" dirty="0" smtClean="0">
                <a:hlinkClick r:id="rId2"/>
              </a:rPr>
              <a:t>/</a:t>
            </a:r>
            <a:endParaRPr lang="sk-SK" sz="4400" dirty="0" smtClean="0"/>
          </a:p>
          <a:p>
            <a:pPr lvl="1"/>
            <a:endParaRPr lang="sk-SK" sz="4400" dirty="0" smtClean="0"/>
          </a:p>
        </p:txBody>
      </p:sp>
      <p:sp>
        <p:nvSpPr>
          <p:cNvPr id="3" name="Zástupný objekt pre číslo snímky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49852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716843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9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Obrázok 1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50936" y="316524"/>
            <a:ext cx="5262965" cy="5595204"/>
          </a:xfrm>
          <a:prstGeom prst="rect">
            <a:avLst/>
          </a:prstGeom>
        </p:spPr>
      </p:pic>
      <p:pic>
        <p:nvPicPr>
          <p:cNvPr id="4" name="Obrázok 3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713901" y="474784"/>
            <a:ext cx="3348720" cy="3329720"/>
          </a:xfrm>
          <a:prstGeom prst="rect">
            <a:avLst/>
          </a:prstGeom>
        </p:spPr>
      </p:pic>
      <p:pic>
        <p:nvPicPr>
          <p:cNvPr id="3" name="Obrázok 2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273826" y="1400542"/>
            <a:ext cx="3482689" cy="3427168"/>
          </a:xfrm>
          <a:prstGeom prst="rect">
            <a:avLst/>
          </a:prstGeom>
        </p:spPr>
      </p:pic>
      <p:sp>
        <p:nvSpPr>
          <p:cNvPr id="6" name="Zástupný objekt pre číslo snímky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83870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rázok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5115" y="1045001"/>
            <a:ext cx="10144977" cy="5229746"/>
          </a:xfrm>
          <a:prstGeom prst="rect">
            <a:avLst/>
          </a:prstGeom>
        </p:spPr>
      </p:pic>
      <p:sp>
        <p:nvSpPr>
          <p:cNvPr id="5" name="Zástupný objekt pre číslo snímky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9073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967805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48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8" name="think-cell data - do not delete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7" name="Obdĺžnik 46"/>
          <p:cNvSpPr/>
          <p:nvPr/>
        </p:nvSpPr>
        <p:spPr>
          <a:xfrm>
            <a:off x="6274784" y="2174040"/>
            <a:ext cx="5301155" cy="4048334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k-SK"/>
          </a:p>
        </p:txBody>
      </p:sp>
      <p:sp>
        <p:nvSpPr>
          <p:cNvPr id="45" name="Obdĺžnik 44"/>
          <p:cNvSpPr/>
          <p:nvPr/>
        </p:nvSpPr>
        <p:spPr>
          <a:xfrm>
            <a:off x="628398" y="2110779"/>
            <a:ext cx="5301155" cy="4048334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k-SK"/>
          </a:p>
        </p:txBody>
      </p:sp>
      <p:sp>
        <p:nvSpPr>
          <p:cNvPr id="2" name="Zaoblený obdĺžnik 1"/>
          <p:cNvSpPr/>
          <p:nvPr/>
        </p:nvSpPr>
        <p:spPr>
          <a:xfrm>
            <a:off x="3423965" y="527858"/>
            <a:ext cx="5345413" cy="745216"/>
          </a:xfrm>
          <a:prstGeom prst="roundRect">
            <a:avLst/>
          </a:prstGeom>
          <a:solidFill>
            <a:srgbClr val="00B0F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k-SK" dirty="0" smtClean="0"/>
              <a:t>Riadiaci výbor </a:t>
            </a:r>
          </a:p>
          <a:p>
            <a:pPr algn="ctr"/>
            <a:r>
              <a:rPr lang="sk-SK" dirty="0" smtClean="0"/>
              <a:t>Ministerstvo financií SR</a:t>
            </a:r>
            <a:endParaRPr lang="sk-SK" dirty="0"/>
          </a:p>
        </p:txBody>
      </p:sp>
      <p:sp>
        <p:nvSpPr>
          <p:cNvPr id="5" name="Zaoblený obdĺžnik 4"/>
          <p:cNvSpPr/>
          <p:nvPr/>
        </p:nvSpPr>
        <p:spPr>
          <a:xfrm>
            <a:off x="606268" y="1529233"/>
            <a:ext cx="5345413" cy="745216"/>
          </a:xfrm>
          <a:prstGeom prst="roundRect">
            <a:avLst/>
          </a:prstGeom>
          <a:solidFill>
            <a:srgbClr val="00B0F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k-SK" dirty="0" smtClean="0"/>
              <a:t>Legislatívna pracovná skupina</a:t>
            </a:r>
          </a:p>
          <a:p>
            <a:pPr algn="ctr"/>
            <a:r>
              <a:rPr lang="sk-SK" dirty="0" smtClean="0"/>
              <a:t>Ministerstvo financií SR</a:t>
            </a:r>
            <a:endParaRPr lang="sk-SK" dirty="0"/>
          </a:p>
        </p:txBody>
      </p:sp>
      <p:sp>
        <p:nvSpPr>
          <p:cNvPr id="6" name="Zaoblený obdĺžnik 5"/>
          <p:cNvSpPr/>
          <p:nvPr/>
        </p:nvSpPr>
        <p:spPr>
          <a:xfrm>
            <a:off x="6252655" y="1523253"/>
            <a:ext cx="5345413" cy="745216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k-SK" dirty="0" smtClean="0"/>
              <a:t>Riadiaci výbor</a:t>
            </a:r>
          </a:p>
          <a:p>
            <a:pPr algn="ctr"/>
            <a:r>
              <a:rPr lang="sk-SK" dirty="0" smtClean="0"/>
              <a:t>Finančnej správy SR</a:t>
            </a:r>
            <a:endParaRPr lang="sk-SK" dirty="0"/>
          </a:p>
        </p:txBody>
      </p:sp>
      <p:sp>
        <p:nvSpPr>
          <p:cNvPr id="3" name="BlokTextu 2"/>
          <p:cNvSpPr txBox="1"/>
          <p:nvPr/>
        </p:nvSpPr>
        <p:spPr>
          <a:xfrm>
            <a:off x="1874095" y="2520157"/>
            <a:ext cx="2765501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k-SK" sz="4000" dirty="0" smtClean="0"/>
              <a:t>Legislatíva</a:t>
            </a:r>
            <a:endParaRPr lang="sk-SK" sz="4000" dirty="0"/>
          </a:p>
        </p:txBody>
      </p:sp>
      <p:sp>
        <p:nvSpPr>
          <p:cNvPr id="9" name="BlokTextu 8"/>
          <p:cNvSpPr txBox="1"/>
          <p:nvPr/>
        </p:nvSpPr>
        <p:spPr>
          <a:xfrm>
            <a:off x="6462431" y="2592138"/>
            <a:ext cx="5047528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k-SK" sz="3200" dirty="0" smtClean="0"/>
              <a:t>Vytvorenie technického prostredia</a:t>
            </a:r>
            <a:endParaRPr lang="sk-SK" sz="3200" dirty="0"/>
          </a:p>
        </p:txBody>
      </p:sp>
      <p:sp>
        <p:nvSpPr>
          <p:cNvPr id="10" name="Zaoblený obdĺžnik 9"/>
          <p:cNvSpPr/>
          <p:nvPr/>
        </p:nvSpPr>
        <p:spPr>
          <a:xfrm>
            <a:off x="6864042" y="3779655"/>
            <a:ext cx="4447126" cy="514423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k-SK" sz="2800" dirty="0" smtClean="0"/>
              <a:t>Business Stream</a:t>
            </a:r>
            <a:endParaRPr lang="sk-SK" sz="2800" dirty="0"/>
          </a:p>
        </p:txBody>
      </p:sp>
      <p:sp>
        <p:nvSpPr>
          <p:cNvPr id="11" name="Zaoblený obdĺžnik 10"/>
          <p:cNvSpPr/>
          <p:nvPr/>
        </p:nvSpPr>
        <p:spPr>
          <a:xfrm>
            <a:off x="6864042" y="4570589"/>
            <a:ext cx="4447126" cy="514423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k-SK" sz="2800" dirty="0" err="1" smtClean="0"/>
              <a:t>Peppol</a:t>
            </a:r>
            <a:r>
              <a:rPr lang="sk-SK" sz="2800" dirty="0" smtClean="0"/>
              <a:t> Autorita</a:t>
            </a:r>
            <a:endParaRPr lang="sk-SK" sz="2800" dirty="0"/>
          </a:p>
        </p:txBody>
      </p:sp>
      <p:sp>
        <p:nvSpPr>
          <p:cNvPr id="12" name="Zaoblený obdĺžnik 11"/>
          <p:cNvSpPr/>
          <p:nvPr/>
        </p:nvSpPr>
        <p:spPr>
          <a:xfrm>
            <a:off x="6864042" y="5284990"/>
            <a:ext cx="4447126" cy="874123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k-SK" sz="2800" dirty="0"/>
              <a:t>Aplikačné programové vybavenie (APV)</a:t>
            </a:r>
          </a:p>
        </p:txBody>
      </p:sp>
      <p:sp>
        <p:nvSpPr>
          <p:cNvPr id="22" name="Zaoblený obdĺžnik 21"/>
          <p:cNvSpPr/>
          <p:nvPr/>
        </p:nvSpPr>
        <p:spPr>
          <a:xfrm>
            <a:off x="1304575" y="4313377"/>
            <a:ext cx="3904540" cy="514423"/>
          </a:xfrm>
          <a:prstGeom prst="roundRect">
            <a:avLst/>
          </a:prstGeom>
          <a:solidFill>
            <a:srgbClr val="00B0F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k-SK" sz="2800" dirty="0" smtClean="0"/>
              <a:t>Legislatívna skupina</a:t>
            </a:r>
            <a:endParaRPr lang="sk-SK" sz="2800" dirty="0"/>
          </a:p>
        </p:txBody>
      </p:sp>
      <p:cxnSp>
        <p:nvCxnSpPr>
          <p:cNvPr id="37" name="Zalomená spojnica 36"/>
          <p:cNvCxnSpPr>
            <a:stCxn id="2" idx="2"/>
            <a:endCxn id="5" idx="0"/>
          </p:cNvCxnSpPr>
          <p:nvPr/>
        </p:nvCxnSpPr>
        <p:spPr>
          <a:xfrm rot="5400000">
            <a:off x="4559745" y="-7695"/>
            <a:ext cx="256159" cy="2817697"/>
          </a:xfrm>
          <a:prstGeom prst="bentConnector3">
            <a:avLst/>
          </a:prstGeom>
          <a:ln w="38100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Zalomená spojnica 37"/>
          <p:cNvCxnSpPr>
            <a:stCxn id="2" idx="2"/>
            <a:endCxn id="6" idx="0"/>
          </p:cNvCxnSpPr>
          <p:nvPr/>
        </p:nvCxnSpPr>
        <p:spPr>
          <a:xfrm rot="16200000" flipH="1">
            <a:off x="7385928" y="-16182"/>
            <a:ext cx="250179" cy="2828690"/>
          </a:xfrm>
          <a:prstGeom prst="bentConnector3">
            <a:avLst>
              <a:gd name="adj1" fmla="val 50000"/>
            </a:avLst>
          </a:prstGeom>
          <a:ln w="38100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Obrázok 3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790799" y="4364492"/>
            <a:ext cx="1542498" cy="211079"/>
          </a:xfrm>
          <a:prstGeom prst="rect">
            <a:avLst/>
          </a:prstGeom>
        </p:spPr>
      </p:pic>
      <p:pic>
        <p:nvPicPr>
          <p:cNvPr id="7" name="Obrázok 6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1333297" y="5085012"/>
            <a:ext cx="800100" cy="619125"/>
          </a:xfrm>
          <a:prstGeom prst="rect">
            <a:avLst/>
          </a:prstGeom>
        </p:spPr>
      </p:pic>
      <p:sp>
        <p:nvSpPr>
          <p:cNvPr id="13" name="Zástupný objekt pre číslo snímky 1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126595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rázok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32185" y="278423"/>
            <a:ext cx="6310312" cy="6310312"/>
          </a:xfrm>
          <a:prstGeom prst="rect">
            <a:avLst/>
          </a:prstGeom>
        </p:spPr>
      </p:pic>
      <p:sp>
        <p:nvSpPr>
          <p:cNvPr id="4" name="Zástupný objekt pre číslo snímky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990752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97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8" name="think-cell data - do not delete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BlokTextu 3"/>
          <p:cNvSpPr txBox="1"/>
          <p:nvPr/>
        </p:nvSpPr>
        <p:spPr>
          <a:xfrm>
            <a:off x="952846" y="289388"/>
            <a:ext cx="9625522" cy="59400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k-SK" sz="2000" b="1" dirty="0" smtClean="0"/>
              <a:t>Čo nie je predmetom</a:t>
            </a:r>
          </a:p>
          <a:p>
            <a:endParaRPr lang="sk-SK" sz="2000" dirty="0"/>
          </a:p>
          <a:p>
            <a:r>
              <a:rPr lang="sk-SK" sz="2000" dirty="0" smtClean="0"/>
              <a:t>Navrhovaná legislatíva</a:t>
            </a:r>
          </a:p>
          <a:p>
            <a:endParaRPr lang="sk-SK" sz="2000" dirty="0"/>
          </a:p>
          <a:p>
            <a:r>
              <a:rPr lang="sk-SK" sz="2000" b="1" dirty="0" err="1" smtClean="0"/>
              <a:t>Co</a:t>
            </a:r>
            <a:r>
              <a:rPr lang="sk-SK" sz="2000" b="1" dirty="0" smtClean="0"/>
              <a:t> je predmetom </a:t>
            </a:r>
            <a:r>
              <a:rPr lang="sk-SK" sz="2000" b="1" dirty="0" err="1" smtClean="0"/>
              <a:t>webinára</a:t>
            </a:r>
            <a:endParaRPr lang="sk-SK" sz="2000" b="1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sk-SK" sz="2000" dirty="0" smtClean="0"/>
              <a:t>Formát faktúr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sk-SK" sz="2000" dirty="0" smtClean="0"/>
              <a:t>Príklady vystavenia, zaslania a prijatia faktúr</a:t>
            </a:r>
          </a:p>
          <a:p>
            <a:endParaRPr lang="sk-SK" sz="2000" dirty="0" smtClean="0"/>
          </a:p>
          <a:p>
            <a:r>
              <a:rPr lang="sk-SK" sz="2000" b="1" dirty="0" smtClean="0"/>
              <a:t>Tu pre koho je </a:t>
            </a:r>
            <a:r>
              <a:rPr lang="sk-SK" sz="2000" b="1" dirty="0" err="1" smtClean="0"/>
              <a:t>webinar</a:t>
            </a:r>
            <a:r>
              <a:rPr lang="sk-SK" sz="2000" b="1" dirty="0" smtClean="0"/>
              <a:t> </a:t>
            </a:r>
            <a:r>
              <a:rPr lang="sk-SK" sz="2000" b="1" u="sng" dirty="0" smtClean="0"/>
              <a:t>PRIMARNE</a:t>
            </a:r>
            <a:r>
              <a:rPr lang="sk-SK" sz="2000" b="1" dirty="0" smtClean="0"/>
              <a:t> určený</a:t>
            </a:r>
          </a:p>
          <a:p>
            <a:endParaRPr lang="sk-SK" sz="2000" b="1" dirty="0" smtClean="0"/>
          </a:p>
          <a:p>
            <a:pPr marL="342900" indent="-342900">
              <a:buAutoNum type="arabicPeriod"/>
            </a:pPr>
            <a:r>
              <a:rPr lang="sk-SK" sz="2000" b="1" dirty="0" smtClean="0"/>
              <a:t>Výrobcom účtovných – podnikových systémov </a:t>
            </a:r>
          </a:p>
          <a:p>
            <a:pPr marL="342900" indent="-342900">
              <a:buAutoNum type="arabicPeriod"/>
            </a:pPr>
            <a:r>
              <a:rPr lang="sk-SK" sz="2000" dirty="0" smtClean="0"/>
              <a:t>Budúci potenciálny poskytovatelia služieb (Service </a:t>
            </a:r>
            <a:r>
              <a:rPr lang="sk-SK" sz="2000" dirty="0" err="1" smtClean="0"/>
              <a:t>Providers</a:t>
            </a:r>
            <a:r>
              <a:rPr lang="sk-SK" sz="2000" dirty="0" smtClean="0"/>
              <a:t>) 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sk-SK" sz="2000" dirty="0" smtClean="0"/>
              <a:t>IT spoločnosti, </a:t>
            </a:r>
            <a:r>
              <a:rPr lang="sk-SK" sz="2000" dirty="0" err="1" smtClean="0"/>
              <a:t>telko</a:t>
            </a:r>
            <a:r>
              <a:rPr lang="sk-SK" sz="2000" dirty="0" smtClean="0"/>
              <a:t> operátori, </a:t>
            </a:r>
            <a:r>
              <a:rPr lang="sk-SK" sz="2000" dirty="0" err="1" smtClean="0"/>
              <a:t>energo</a:t>
            </a:r>
            <a:r>
              <a:rPr lang="sk-SK" sz="2000" dirty="0" smtClean="0"/>
              <a:t> spoločnosti, Slovenská pošta, Spoločnosti zabezpečujúce tlač a distribúciu firemnej dokumentácie..... </a:t>
            </a:r>
          </a:p>
          <a:p>
            <a:endParaRPr lang="sk-SK" sz="2000" dirty="0" smtClean="0"/>
          </a:p>
          <a:p>
            <a:r>
              <a:rPr lang="sk-SK" sz="2000" b="1" dirty="0" smtClean="0"/>
              <a:t>Očakávaná technická úroveň participantov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sk-SK" sz="2000" dirty="0" err="1" smtClean="0"/>
              <a:t>xml</a:t>
            </a:r>
            <a:endParaRPr lang="sk-SK" sz="20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sk-SK" sz="2000" dirty="0" smtClean="0"/>
              <a:t>Klient, server, integrácia, API, šifrovaná komunikácia, </a:t>
            </a:r>
            <a:r>
              <a:rPr lang="sk-SK" sz="2000" dirty="0" err="1" smtClean="0"/>
              <a:t>access</a:t>
            </a:r>
            <a:r>
              <a:rPr lang="sk-SK" sz="2000" dirty="0" smtClean="0"/>
              <a:t> token, </a:t>
            </a:r>
            <a:endParaRPr lang="sk-SK" sz="2000" dirty="0"/>
          </a:p>
        </p:txBody>
      </p:sp>
      <p:sp>
        <p:nvSpPr>
          <p:cNvPr id="2" name="Zástupný objekt pre číslo snímky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967436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lokTextu 1"/>
          <p:cNvSpPr txBox="1"/>
          <p:nvPr/>
        </p:nvSpPr>
        <p:spPr>
          <a:xfrm>
            <a:off x="2479431" y="2989385"/>
            <a:ext cx="6268063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k-SK" sz="4400" dirty="0" smtClean="0"/>
              <a:t>Predbežná informácia</a:t>
            </a:r>
            <a:endParaRPr lang="sk-SK" sz="4400" dirty="0"/>
          </a:p>
        </p:txBody>
      </p:sp>
      <p:sp>
        <p:nvSpPr>
          <p:cNvPr id="3" name="Zástupný objekt pre číslo snímky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47816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22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8" name="think-cell data - do not delete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BlokTextu 3"/>
          <p:cNvSpPr txBox="1"/>
          <p:nvPr/>
        </p:nvSpPr>
        <p:spPr>
          <a:xfrm>
            <a:off x="487019" y="263809"/>
            <a:ext cx="10358781" cy="64940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k-SK" sz="3200" dirty="0"/>
              <a:t>Predbežnou informáciou sa oznamuje, že do zákona č. 222/2004 </a:t>
            </a:r>
            <a:r>
              <a:rPr lang="sk-SK" sz="3200" dirty="0" err="1"/>
              <a:t>Z.z</a:t>
            </a:r>
            <a:r>
              <a:rPr lang="sk-SK" sz="3200" dirty="0"/>
              <a:t>. o DPH bude s účinnosťou od 1. januára </a:t>
            </a:r>
            <a:r>
              <a:rPr lang="sk-SK" sz="3200" dirty="0" smtClean="0"/>
              <a:t>2027</a:t>
            </a:r>
          </a:p>
          <a:p>
            <a:pPr lvl="1"/>
            <a:r>
              <a:rPr lang="sk-SK" sz="3200" dirty="0" smtClean="0"/>
              <a:t>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sk-SK" sz="3200" dirty="0" smtClean="0"/>
              <a:t>zavedená </a:t>
            </a:r>
            <a:r>
              <a:rPr lang="sk-SK" sz="3200" dirty="0"/>
              <a:t>povinnosť pre platiteľov vyhotoviť a prijímať faktúry v </a:t>
            </a:r>
            <a:r>
              <a:rPr lang="sk-SK" sz="3200" b="1" dirty="0"/>
              <a:t>ustanovenom elektronickom formáte </a:t>
            </a:r>
            <a:endParaRPr lang="sk-SK" sz="3200" b="1" dirty="0" smtClean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sk-SK" sz="3200" dirty="0" smtClean="0"/>
              <a:t>povinnosť </a:t>
            </a:r>
            <a:r>
              <a:rPr lang="sk-SK" sz="3200" b="1" dirty="0"/>
              <a:t>oznamovať údaje</a:t>
            </a:r>
            <a:r>
              <a:rPr lang="sk-SK" sz="3200" dirty="0"/>
              <a:t> z vyhotovených a z prijatých elektronických faktúr pre </a:t>
            </a:r>
            <a:r>
              <a:rPr lang="sk-SK" sz="3200" b="1" dirty="0"/>
              <a:t>tuzemské</a:t>
            </a:r>
            <a:r>
              <a:rPr lang="sk-SK" sz="3200" dirty="0"/>
              <a:t> </a:t>
            </a:r>
            <a:r>
              <a:rPr lang="sk-SK" sz="3200" dirty="0" smtClean="0"/>
              <a:t>transakcie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sk-SK" sz="3200" dirty="0" smtClean="0"/>
          </a:p>
          <a:p>
            <a:r>
              <a:rPr lang="sk-SK" sz="3200" dirty="0" smtClean="0"/>
              <a:t>Na zaslanie faktúry v ustanovenom elektronickom formáte sa </a:t>
            </a:r>
            <a:r>
              <a:rPr lang="sk-SK" sz="3200" b="1" u="sng" dirty="0" smtClean="0">
                <a:solidFill>
                  <a:srgbClr val="C00000"/>
                </a:solidFill>
              </a:rPr>
              <a:t>nebude vyžadovať</a:t>
            </a:r>
            <a:r>
              <a:rPr lang="sk-SK" sz="3200" dirty="0" smtClean="0">
                <a:solidFill>
                  <a:srgbClr val="C00000"/>
                </a:solidFill>
              </a:rPr>
              <a:t> </a:t>
            </a:r>
            <a:r>
              <a:rPr lang="sk-SK" sz="3200" dirty="0" smtClean="0"/>
              <a:t>súhlas odberateľa</a:t>
            </a:r>
          </a:p>
        </p:txBody>
      </p:sp>
      <p:sp>
        <p:nvSpPr>
          <p:cNvPr id="2" name="Zástupný objekt pre číslo snímky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9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lokTextu 1"/>
          <p:cNvSpPr txBox="1"/>
          <p:nvPr/>
        </p:nvSpPr>
        <p:spPr>
          <a:xfrm>
            <a:off x="1521070" y="1400045"/>
            <a:ext cx="8945770" cy="31085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k-SK" sz="2800" dirty="0" smtClean="0"/>
              <a:t>Rozhodnutie RV Elektronická faktúra o využití decentralizovaného modelu na základe:</a:t>
            </a:r>
          </a:p>
          <a:p>
            <a:endParaRPr lang="sk-SK" sz="2800" dirty="0" smtClean="0"/>
          </a:p>
          <a:p>
            <a:pPr marL="342900" indent="-342900">
              <a:buAutoNum type="arabicPeriod"/>
            </a:pPr>
            <a:r>
              <a:rPr lang="sk-SK" sz="2800" dirty="0" smtClean="0"/>
              <a:t>Formátu elektronickej faktúry PEPPOL BIS 3</a:t>
            </a:r>
          </a:p>
          <a:p>
            <a:pPr marL="342900" indent="-342900">
              <a:buAutoNum type="arabicPeriod"/>
            </a:pPr>
            <a:r>
              <a:rPr lang="sk-SK" sz="2800" dirty="0" smtClean="0"/>
              <a:t>Využití siete </a:t>
            </a:r>
            <a:r>
              <a:rPr lang="sk-SK" sz="2800" dirty="0" err="1" smtClean="0"/>
              <a:t>Peppol</a:t>
            </a:r>
            <a:r>
              <a:rPr lang="sk-SK" sz="2800" dirty="0" smtClean="0"/>
              <a:t> na doručovanie a e-</a:t>
            </a:r>
            <a:r>
              <a:rPr lang="sk-SK" sz="2800" dirty="0" err="1" smtClean="0"/>
              <a:t>reporting</a:t>
            </a:r>
            <a:r>
              <a:rPr lang="sk-SK" sz="2800" dirty="0" smtClean="0"/>
              <a:t> údajov z faktúr</a:t>
            </a:r>
          </a:p>
          <a:p>
            <a:pPr marL="342900" indent="-342900">
              <a:buAutoNum type="arabicPeriod"/>
            </a:pPr>
            <a:endParaRPr lang="sk-SK" sz="2800" dirty="0"/>
          </a:p>
        </p:txBody>
      </p:sp>
      <p:sp>
        <p:nvSpPr>
          <p:cNvPr id="3" name="Zástupný objekt pre číslo snímky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9</a:t>
            </a:fld>
            <a:endParaRPr lang="en-US"/>
          </a:p>
        </p:txBody>
      </p:sp>
      <p:sp>
        <p:nvSpPr>
          <p:cNvPr id="5" name="BlokTextu 4"/>
          <p:cNvSpPr txBox="1"/>
          <p:nvPr/>
        </p:nvSpPr>
        <p:spPr>
          <a:xfrm>
            <a:off x="1521070" y="4611231"/>
            <a:ext cx="7625806" cy="224676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k-SK" sz="2800" dirty="0" smtClean="0"/>
              <a:t>Prečo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sk-SK" sz="2800" dirty="0" smtClean="0"/>
              <a:t>Bezpečnosť (</a:t>
            </a:r>
            <a:r>
              <a:rPr lang="sk-SK" sz="2800" dirty="0" err="1" smtClean="0"/>
              <a:t>kyber</a:t>
            </a:r>
            <a:r>
              <a:rPr lang="sk-SK" sz="2800" dirty="0" smtClean="0"/>
              <a:t> útoky, email </a:t>
            </a:r>
            <a:r>
              <a:rPr lang="sk-SK" sz="2800" dirty="0" err="1" smtClean="0"/>
              <a:t>spoofing</a:t>
            </a:r>
            <a:r>
              <a:rPr lang="sk-SK" sz="2800" dirty="0" smtClean="0"/>
              <a:t>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sk-SK" sz="2800" dirty="0" smtClean="0"/>
              <a:t>Efektívnosť (</a:t>
            </a:r>
            <a:r>
              <a:rPr lang="sk-SK" sz="2800" dirty="0" err="1" smtClean="0"/>
              <a:t>nevymyšlať</a:t>
            </a:r>
            <a:r>
              <a:rPr lang="sk-SK" sz="2800" dirty="0" smtClean="0"/>
              <a:t> vymyslené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sk-SK" sz="2800" dirty="0" err="1" smtClean="0"/>
              <a:t>Open</a:t>
            </a:r>
            <a:r>
              <a:rPr lang="sk-SK" sz="2800" dirty="0" smtClean="0"/>
              <a:t> – Decentralizované prístup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sk-SK" sz="2800" dirty="0"/>
          </a:p>
        </p:txBody>
      </p:sp>
    </p:spTree>
    <p:extLst>
      <p:ext uri="{BB962C8B-B14F-4D97-AF65-F5344CB8AC3E}">
        <p14:creationId xmlns:p14="http://schemas.microsoft.com/office/powerpoint/2010/main" val="26877493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8224&quot;&gt;&lt;version val=&quot;35684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bNumberIsYear val=&quot;0&quot;/&gt;&lt;m_strFormatTime&gt;%#d. %#m. %Y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2&quot;/&gt;&lt;m_eweekdayFirstOfWorkweek val=&quot;2&quot;/&gt;&lt;m_eweekdayFirstOfWeekend val=&quot;7&quot;/&gt;&lt;/CPresentation&gt;&lt;/root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vreOtPYoKG2cgdYirQ.f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r90SqGdy6g3NxtD2p6E2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GdMsZsrvl31eVLqMMorM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UB.NZuufLaGPeEUXzOmu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DZ.lo7SqHHteqWgw3uZY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W_9IEHDZbrXJqokPlRAs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WxZ4Bwj8CeCdA548fO6t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14pjBH1k3aNL3qcOfLG4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izM_SbcDkVDiC5NbtFuT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hF7JWcUguRnC_llWyjOc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kVH6JeHaY7lSY8RUlDA5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g4lFCeo.c.IZotY24OrQ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t8B..Oby6CUYY_DfH8ox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qhXHL0zbm0vN779X5l1P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1owkd9j4MF8nXTr_7t2Q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i._FL8UBVOJa81TLg7AY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MxpxIr_YEfCccfuBD5Nu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aP1i7aeLvSgCQmFvS2ia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YiRd1KxxVTI1VuxG0.9p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WeaDvqPNk5VFp5FafZQk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OLZVKa8dbi4OkiEeSypW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JJMipPiYMARkz9xTvGEn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9dUReu2P1kL8D94VACmb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JtJVKssW53C.mX8VlDsM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jY1phr2Lt1UkH2SOVxdb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O7PyiG.E757V8aY7kKwI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OWh.7EMrqvjLkzhW2GPk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Dya0ri0Td3XRDDfx991H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9BkqOaDtvnvyHwRQMHi3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5igJHE4_ULsRJef57mXr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pKH6IIiq6W67FLBSu_.o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kt4TKLonC19U3Hzb5y.C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GfA0khXDq8j0Rt1C5XfD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4SMaZ4aPazec0zFbfJNo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3KG4lV9xvMRccz3PBSCT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dK_FDISqNgB3cZZ6jRFc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P8KUGUJuUwB4ImTSMqpc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gzD0hpxYgo_3cX4oROe4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Bt7fem1VxBYowHCc9eyj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qKTH4vZFxQWddcrnYkX.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z4oEpi2tts34M26KuX1l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0zif7dXYQ46G.7GJGS32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oqJoCIeDNyI4Jo9AxTqR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74Apzg2dcCvohYDN0TZh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iWCsaPtWfcWRBZXywf.X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YW2Xr.8Ko6CTswhGYUxu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Oa_mhGkHiiKca_URuOGm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q0AvaC8UOcTvVkZIWGHB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2x2cROsZNC72N07rTcdH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Q8D5G1KrDZARMZBMjopD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o_veKZ4wxc.2nyh2_OmE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3rHfMHBkBRlIc48_Kg_4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gJh6TXccWVZF.GTTSqvT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FYZ.UO_KDh65_tQopZBz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JenWfZF1vhjwf1hpi.2g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bk6GaqEMK6L9rsNDEXqt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W6WJQnOA0wUdNrZGt_ty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C8VmiRx7abRrWODWFWoQ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DOGxvHmo8HopqbhIs6KW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0B.VTeaxwwW0XvZrQtEB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akERczi1ZmxlsDjnmeGU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YfL9CJDwXi_m64wF0TK1Q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CJIMINqua07mh7_vrI_1g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P5ApY6lq.JjZNjK6g.31w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210SOArVhBq0cHE.4Nj3w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DqrCTcZGqo.6idgl7v04g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2Oz5eLCf.NM6N7sUHD2K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RycUECaRTG5P65LQIY92A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O86wS75XD5B0HGT.cFeYg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_O1f3DfmAFR85GlOi5BL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BICmN0N2GiSm4c6aE46i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gIhd8FXA5w9wZ8yrC6WyQ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Ion Boardroom">
  <a:themeElements>
    <a:clrScheme name="Green">
      <a:dk1>
        <a:sysClr val="windowText" lastClr="000000"/>
      </a:dk1>
      <a:lt1>
        <a:sysClr val="window" lastClr="FFFFFF"/>
      </a:lt1>
      <a:dk2>
        <a:srgbClr val="455F51"/>
      </a:dk2>
      <a:lt2>
        <a:srgbClr val="E3DED1"/>
      </a:lt2>
      <a:accent1>
        <a:srgbClr val="549E39"/>
      </a:accent1>
      <a:accent2>
        <a:srgbClr val="8AB833"/>
      </a:accent2>
      <a:accent3>
        <a:srgbClr val="C0CF3A"/>
      </a:accent3>
      <a:accent4>
        <a:srgbClr val="029676"/>
      </a:accent4>
      <a:accent5>
        <a:srgbClr val="4AB5C4"/>
      </a:accent5>
      <a:accent6>
        <a:srgbClr val="0989B1"/>
      </a:accent6>
      <a:hlink>
        <a:srgbClr val="6B9F25"/>
      </a:hlink>
      <a:folHlink>
        <a:srgbClr val="BA6906"/>
      </a:folHlink>
    </a:clrScheme>
    <a:fontScheme name="Ion Boardroom">
      <a:majorFont>
        <a:latin typeface="Century Gothic" panose="020B050202020202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B050202020202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Ion Boardroom">
      <a:fillStyleLst>
        <a:solidFill>
          <a:schemeClr val="phClr"/>
        </a:solidFill>
        <a:gradFill rotWithShape="1">
          <a:gsLst>
            <a:gs pos="0">
              <a:schemeClr val="phClr">
                <a:tint val="64000"/>
                <a:lumMod val="118000"/>
              </a:schemeClr>
            </a:gs>
            <a:gs pos="100000">
              <a:schemeClr val="phClr">
                <a:tint val="92000"/>
                <a:alpha val="100000"/>
                <a:lumMod val="11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8000"/>
                <a:lumMod val="114000"/>
              </a:schemeClr>
            </a:gs>
            <a:gs pos="100000">
              <a:schemeClr val="phClr">
                <a:shade val="90000"/>
                <a:lumMod val="84000"/>
              </a:schemeClr>
            </a:gs>
          </a:gsLst>
          <a:lin ang="5400000" scaled="0"/>
        </a:gradFill>
      </a:fillStyleLst>
      <a:lnStyleLst>
        <a:ln w="9525" cap="rnd" cmpd="sng" algn="ctr">
          <a:solidFill>
            <a:schemeClr val="phClr"/>
          </a:solidFill>
          <a:prstDash val="solid"/>
        </a:ln>
        <a:ln w="19050" cap="rnd" cmpd="sng" algn="ctr">
          <a:solidFill>
            <a:schemeClr val="phClr"/>
          </a:solidFill>
          <a:prstDash val="solid"/>
        </a:ln>
        <a:ln w="28575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63500" dist="38100" dir="5400000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/>
          </a:scene3d>
          <a:sp3d prstMaterial="plastic">
            <a:bevelT w="0" h="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8000"/>
                <a:hueMod val="124000"/>
                <a:satMod val="148000"/>
                <a:lumMod val="124000"/>
              </a:schemeClr>
            </a:gs>
            <a:gs pos="100000">
              <a:schemeClr val="phClr">
                <a:shade val="76000"/>
                <a:hueMod val="89000"/>
                <a:satMod val="164000"/>
                <a:lumMod val="56000"/>
              </a:schemeClr>
            </a:gs>
          </a:gsLst>
          <a:path path="circle">
            <a:fillToRect l="45000" t="65000" r="125000" b="100000"/>
          </a:path>
        </a:gradFill>
        <a:blipFill rotWithShape="1">
          <a:blip xmlns:r="http://schemas.openxmlformats.org/officeDocument/2006/relationships" r:embed="rId1">
            <a:duotone>
              <a:schemeClr val="phClr">
                <a:shade val="69000"/>
                <a:hueMod val="91000"/>
                <a:satMod val="164000"/>
                <a:lumMod val="74000"/>
              </a:schemeClr>
              <a:schemeClr val="phClr">
                <a:hueMod val="124000"/>
                <a:satMod val="140000"/>
                <a:lumMod val="142000"/>
              </a:schemeClr>
            </a:duotone>
          </a:blip>
          <a:stretch/>
        </a:blip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Ion Boardroom" id="{FC33163D-4339-46B1-8EED-24C834239D99}" vid="{B8502691-933B-45FE-8764-BA278511EF27}"/>
    </a:ext>
  </a:extLst>
</a:theme>
</file>

<file path=ppt/theme/theme2.xml><?xml version="1.0" encoding="utf-8"?>
<a:theme xmlns:a="http://schemas.openxmlformats.org/drawingml/2006/main" name="Motív balíka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954F383B53FC334DBDA480C533EB1459" ma:contentTypeVersion="1" ma:contentTypeDescription="Umožňuje vytvoriť nový dokument." ma:contentTypeScope="" ma:versionID="98c1fdc328462b0ddd4a32ee7033cd1e">
  <xsd:schema xmlns:xsd="http://www.w3.org/2001/XMLSchema" xmlns:xs="http://www.w3.org/2001/XMLSchema" xmlns:p="http://schemas.microsoft.com/office/2006/metadata/properties" xmlns:ns2="02a17a64-797b-4ca1-a426-53cedcb7e95f" targetNamespace="http://schemas.microsoft.com/office/2006/metadata/properties" ma:root="true" ma:fieldsID="2ad35f6b16429ad8469c9b279c0b3445" ns2:_="">
    <xsd:import namespace="02a17a64-797b-4ca1-a426-53cedcb7e95f"/>
    <xsd:element name="properties">
      <xsd:complexType>
        <xsd:sequence>
          <xsd:element name="documentManagement">
            <xsd:complexType>
              <xsd:all>
                <xsd:element ref="ns2:SharedWithUser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2a17a64-797b-4ca1-a426-53cedcb7e95f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Zdieľa sa s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 obsahu"/>
        <xsd:element ref="dc:title" minOccurs="0" maxOccurs="1" ma:index="4" ma:displayName="Nadpis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5FE90CA2-C296-4E4B-A672-A622B98CE152}">
  <ds:schemaRefs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02a17a64-797b-4ca1-a426-53cedcb7e95f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31DB439B-FA04-4DD8-A7AF-B1F08516B7C2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ED2F1A55-FEE5-4956-B0D4-F684413ED06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2a17a64-797b-4ca1-a426-53cedcb7e95f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Ion Boardroom</Template>
  <TotalTime>483</TotalTime>
  <Words>665</Words>
  <Application>Microsoft Office PowerPoint</Application>
  <PresentationFormat>Širokouhlá</PresentationFormat>
  <Paragraphs>170</Paragraphs>
  <Slides>19</Slides>
  <Notes>0</Notes>
  <HiddenSlides>0</HiddenSlides>
  <MMClips>0</MMClips>
  <ScaleCrop>false</ScaleCrop>
  <HeadingPairs>
    <vt:vector size="8" baseType="variant">
      <vt:variant>
        <vt:lpstr>Použité písma</vt:lpstr>
      </vt:variant>
      <vt:variant>
        <vt:i4>5</vt:i4>
      </vt:variant>
      <vt:variant>
        <vt:lpstr>Motív</vt:lpstr>
      </vt:variant>
      <vt:variant>
        <vt:i4>1</vt:i4>
      </vt:variant>
      <vt:variant>
        <vt:lpstr>Vložené servery OLE</vt:lpstr>
      </vt:variant>
      <vt:variant>
        <vt:i4>2</vt:i4>
      </vt:variant>
      <vt:variant>
        <vt:lpstr>Nadpisy snímok</vt:lpstr>
      </vt:variant>
      <vt:variant>
        <vt:i4>19</vt:i4>
      </vt:variant>
    </vt:vector>
  </HeadingPairs>
  <TitlesOfParts>
    <vt:vector size="27" baseType="lpstr">
      <vt:lpstr>Arial</vt:lpstr>
      <vt:lpstr>Arial Narrow</vt:lpstr>
      <vt:lpstr>Calibri</vt:lpstr>
      <vt:lpstr>Century Gothic</vt:lpstr>
      <vt:lpstr>Wingdings 3</vt:lpstr>
      <vt:lpstr>Ion Boardroom</vt:lpstr>
      <vt:lpstr>think-cell Slide</vt:lpstr>
      <vt:lpstr>Acrobat Document</vt:lpstr>
      <vt:lpstr>Prezentácia programu PowerPoint</vt:lpstr>
      <vt:lpstr>Prezentácia programu PowerPoint</vt:lpstr>
      <vt:lpstr>Prezentácia programu PowerPoint</vt:lpstr>
      <vt:lpstr>Prezentácia programu PowerPoint</vt:lpstr>
      <vt:lpstr>Prezentácia programu PowerPoint</vt:lpstr>
      <vt:lpstr>Prezentácia programu PowerPoint</vt:lpstr>
      <vt:lpstr>Prezentácia programu PowerPoint</vt:lpstr>
      <vt:lpstr>Prezentácia programu PowerPoint</vt:lpstr>
      <vt:lpstr>Prezentácia programu PowerPoint</vt:lpstr>
      <vt:lpstr>Prezentácia programu PowerPoint</vt:lpstr>
      <vt:lpstr>Prezentácia programu PowerPoint</vt:lpstr>
      <vt:lpstr>Prezentácia programu PowerPoint</vt:lpstr>
      <vt:lpstr>Prezentácia programu PowerPoint</vt:lpstr>
      <vt:lpstr>Prezentácia programu PowerPoint</vt:lpstr>
      <vt:lpstr>Prezentácia programu PowerPoint</vt:lpstr>
      <vt:lpstr>Prezentácia programu PowerPoint</vt:lpstr>
      <vt:lpstr>Prezentácia programu PowerPoint</vt:lpstr>
      <vt:lpstr>Prezentácia programu PowerPoint</vt:lpstr>
      <vt:lpstr>Prezentácia programu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ichal Opalek DataConcept</dc:creator>
  <cp:lastModifiedBy>Pavlovič Stanislav Ing.</cp:lastModifiedBy>
  <cp:revision>54</cp:revision>
  <dcterms:created xsi:type="dcterms:W3CDTF">2019-09-03T08:16:12Z</dcterms:created>
  <dcterms:modified xsi:type="dcterms:W3CDTF">2025-04-09T14:01:2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54F383B53FC334DBDA480C533EB1459</vt:lpwstr>
  </property>
</Properties>
</file>